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7"/>
  </p:notesMasterIdLst>
  <p:sldIdLst>
    <p:sldId id="256" r:id="rId2"/>
    <p:sldId id="464" r:id="rId3"/>
    <p:sldId id="870" r:id="rId4"/>
    <p:sldId id="855" r:id="rId5"/>
    <p:sldId id="856" r:id="rId6"/>
    <p:sldId id="871" r:id="rId7"/>
    <p:sldId id="857" r:id="rId8"/>
    <p:sldId id="858" r:id="rId9"/>
    <p:sldId id="859" r:id="rId10"/>
    <p:sldId id="874" r:id="rId11"/>
    <p:sldId id="861" r:id="rId12"/>
    <p:sldId id="862" r:id="rId13"/>
    <p:sldId id="863" r:id="rId14"/>
    <p:sldId id="866" r:id="rId15"/>
    <p:sldId id="849" r:id="rId16"/>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曹 益彰" initials="曹" lastIdx="34" clrIdx="0">
    <p:extLst>
      <p:ext uri="{19B8F6BF-5375-455C-9EA6-DF929625EA0E}">
        <p15:presenceInfo xmlns:p15="http://schemas.microsoft.com/office/powerpoint/2012/main" userId="4f44783d27a29ea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FAADC"/>
    <a:srgbClr val="2F5597"/>
    <a:srgbClr val="B4C7E7"/>
    <a:srgbClr val="DAE3F3"/>
    <a:srgbClr val="FCEFE7"/>
    <a:srgbClr val="DBE8F2"/>
    <a:srgbClr val="F0EDEE"/>
    <a:srgbClr val="F1EDED"/>
    <a:srgbClr val="F3EDED"/>
    <a:srgbClr val="F4EE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17" autoAdjust="0"/>
    <p:restoredTop sz="94660"/>
  </p:normalViewPr>
  <p:slideViewPr>
    <p:cSldViewPr snapToGrid="0">
      <p:cViewPr varScale="1">
        <p:scale>
          <a:sx n="152" d="100"/>
          <a:sy n="152" d="100"/>
        </p:scale>
        <p:origin x="1000" y="-1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xlsb"/></Relationships>
</file>

<file path=ppt/charts/_rels/chart2.xml.rels><?xml version="1.0" encoding="UTF-8" standalone="yes"?>
<Relationships xmlns="http://schemas.openxmlformats.org/package/2006/relationships"><Relationship Id="rId3" Type="http://schemas.openxmlformats.org/officeDocument/2006/relationships/oleObject" Target="https://yunqipartners-my.sharepoint.cn/personal/xwei_yunqi_vc/Documents/&#25991;&#26723;/Yunqi%20&#20113;&#21551;/E%20&#30740;&#31350;&#25253;&#21578;/06%20202108-&#24320;&#28304;&#21830;&#19994;&#21270;&#25253;&#21578;/ZK/Copy%20of%20COSS%20IPO%20trend&#30011;&#22270;.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E:\&#26361;&#30410;&#24432;&#30340;&#25991;&#20214;&#22841;\&#36328;&#20445;&#32463;&#31649;\&#23454;&#20064;\&#20113;&#21551;&#36164;&#26412;\&#31532;1&#27425;&#20219;&#21153;%20%20&#24320;&#28304;&#22823;&#25253;&#21578;\&#26032;&#24314;%20Microsoft%20Excel%20&#24037;&#20316;&#34920;.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E:\&#26361;&#30410;&#24432;&#30340;&#25991;&#20214;&#22841;\&#36328;&#20445;&#32463;&#31649;\&#23454;&#20064;\&#20113;&#21551;&#36164;&#26412;\&#31532;1&#27425;&#20219;&#21153;%20%20&#24320;&#28304;&#22823;&#25253;&#21578;\&#26032;&#24314;%20Microsoft%20Excel%20&#24037;&#20316;&#34920;.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E:\&#26361;&#30410;&#24432;&#30340;&#25991;&#20214;&#22841;\&#36328;&#20445;&#32463;&#31649;\&#23454;&#20064;\&#20113;&#21551;&#36164;&#26412;\&#31532;1&#27425;&#20219;&#21153;%20%20&#24320;&#28304;&#22823;&#25253;&#21578;\&#26032;&#24314;%20Microsoft%20Excel%20&#24037;&#20316;&#34920;.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E:\&#26361;&#30410;&#24432;&#30340;&#25991;&#20214;&#22841;\&#36328;&#20445;&#32463;&#31649;\&#23454;&#20064;\&#20113;&#21551;&#36164;&#26412;\&#31532;1&#27425;&#20219;&#21153;%20%20&#24320;&#28304;&#22823;&#25253;&#21578;\&#26032;&#24314;%20Microsoft%20Excel%20&#24037;&#20316;&#34920;.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04933255948927"/>
          <c:y val="3.4210526315789476E-2"/>
          <c:w val="0.74405107370864776"/>
          <c:h val="0.93157894736842106"/>
        </c:manualLayout>
      </c:layout>
      <c:lineChart>
        <c:grouping val="standard"/>
        <c:varyColors val="0"/>
        <c:ser>
          <c:idx val="0"/>
          <c:order val="0"/>
          <c:spPr>
            <a:ln w="41275" cap="rnd" algn="ctr">
              <a:solidFill>
                <a:schemeClr val="accent1">
                  <a:lumMod val="75000"/>
                </a:schemeClr>
              </a:solidFill>
              <a:prstDash val="solid"/>
            </a:ln>
          </c:spPr>
          <c:marker>
            <c:symbol val="none"/>
          </c:marker>
          <c:val>
            <c:numRef>
              <c:f>Sheet1!$A$1:$W$1</c:f>
              <c:numCache>
                <c:formatCode>General</c:formatCode>
                <c:ptCount val="23"/>
                <c:pt idx="0">
                  <c:v>0</c:v>
                </c:pt>
                <c:pt idx="1">
                  <c:v>2</c:v>
                </c:pt>
                <c:pt idx="2">
                  <c:v>1</c:v>
                </c:pt>
                <c:pt idx="3">
                  <c:v>0</c:v>
                </c:pt>
                <c:pt idx="4">
                  <c:v>2</c:v>
                </c:pt>
                <c:pt idx="5">
                  <c:v>3</c:v>
                </c:pt>
                <c:pt idx="6">
                  <c:v>7</c:v>
                </c:pt>
                <c:pt idx="7">
                  <c:v>13</c:v>
                </c:pt>
                <c:pt idx="8">
                  <c:v>8</c:v>
                </c:pt>
                <c:pt idx="9">
                  <c:v>14</c:v>
                </c:pt>
                <c:pt idx="10">
                  <c:v>16</c:v>
                </c:pt>
                <c:pt idx="11">
                  <c:v>27</c:v>
                </c:pt>
                <c:pt idx="12">
                  <c:v>27</c:v>
                </c:pt>
                <c:pt idx="13">
                  <c:v>30</c:v>
                </c:pt>
                <c:pt idx="14">
                  <c:v>33</c:v>
                </c:pt>
                <c:pt idx="15">
                  <c:v>34</c:v>
                </c:pt>
                <c:pt idx="16">
                  <c:v>36</c:v>
                </c:pt>
                <c:pt idx="17">
                  <c:v>28</c:v>
                </c:pt>
                <c:pt idx="18">
                  <c:v>29</c:v>
                </c:pt>
                <c:pt idx="19">
                  <c:v>31</c:v>
                </c:pt>
                <c:pt idx="20">
                  <c:v>30</c:v>
                </c:pt>
                <c:pt idx="21">
                  <c:v>41</c:v>
                </c:pt>
                <c:pt idx="22">
                  <c:v>30</c:v>
                </c:pt>
              </c:numCache>
            </c:numRef>
          </c:val>
          <c:smooth val="0"/>
          <c:extLst>
            <c:ext xmlns:c16="http://schemas.microsoft.com/office/drawing/2014/chart" uri="{C3380CC4-5D6E-409C-BE32-E72D297353CC}">
              <c16:uniqueId val="{00000000-6A6E-44F0-85DC-BF4E35ADDB51}"/>
            </c:ext>
          </c:extLst>
        </c:ser>
        <c:dLbls>
          <c:showLegendKey val="0"/>
          <c:showVal val="0"/>
          <c:showCatName val="0"/>
          <c:showSerName val="0"/>
          <c:showPercent val="0"/>
          <c:showBubbleSize val="0"/>
        </c:dLbls>
        <c:marker val="1"/>
        <c:smooth val="0"/>
        <c:axId val="1511204096"/>
        <c:axId val="1"/>
      </c:lineChart>
      <c:lineChart>
        <c:grouping val="standard"/>
        <c:varyColors val="0"/>
        <c:ser>
          <c:idx val="1"/>
          <c:order val="1"/>
          <c:spPr>
            <a:ln w="41275" cap="flat" algn="ctr">
              <a:solidFill>
                <a:schemeClr val="accent1"/>
              </a:solidFill>
              <a:prstDash val="solid"/>
            </a:ln>
          </c:spPr>
          <c:marker>
            <c:symbol val="none"/>
          </c:marker>
          <c:val>
            <c:numRef>
              <c:f>Sheet1!$A$2:$W$2</c:f>
              <c:numCache>
                <c:formatCode>General</c:formatCode>
                <c:ptCount val="23"/>
                <c:pt idx="0">
                  <c:v>0</c:v>
                </c:pt>
                <c:pt idx="1">
                  <c:v>45.8</c:v>
                </c:pt>
                <c:pt idx="2">
                  <c:v>1.8</c:v>
                </c:pt>
                <c:pt idx="3">
                  <c:v>0</c:v>
                </c:pt>
                <c:pt idx="4">
                  <c:v>21.5</c:v>
                </c:pt>
                <c:pt idx="5">
                  <c:v>25</c:v>
                </c:pt>
                <c:pt idx="6">
                  <c:v>53.42</c:v>
                </c:pt>
                <c:pt idx="7">
                  <c:v>153.16000000000003</c:v>
                </c:pt>
                <c:pt idx="8">
                  <c:v>54.8</c:v>
                </c:pt>
                <c:pt idx="9">
                  <c:v>169.83500000000001</c:v>
                </c:pt>
                <c:pt idx="10">
                  <c:v>87.565000000000012</c:v>
                </c:pt>
                <c:pt idx="11">
                  <c:v>243.04999999999998</c:v>
                </c:pt>
                <c:pt idx="12">
                  <c:v>307.88</c:v>
                </c:pt>
                <c:pt idx="13">
                  <c:v>836.34500000000003</c:v>
                </c:pt>
                <c:pt idx="14">
                  <c:v>1819.4519999999998</c:v>
                </c:pt>
                <c:pt idx="15">
                  <c:v>1987.3440000000001</c:v>
                </c:pt>
                <c:pt idx="16">
                  <c:v>1231.2783699999998</c:v>
                </c:pt>
                <c:pt idx="17">
                  <c:v>1160.9890000000003</c:v>
                </c:pt>
                <c:pt idx="18">
                  <c:v>1267.7269999999999</c:v>
                </c:pt>
                <c:pt idx="19">
                  <c:v>2509.9450000000002</c:v>
                </c:pt>
                <c:pt idx="20">
                  <c:v>3884.2440000000001</c:v>
                </c:pt>
                <c:pt idx="21">
                  <c:v>1951.6509999999996</c:v>
                </c:pt>
                <c:pt idx="22">
                  <c:v>5448.36</c:v>
                </c:pt>
              </c:numCache>
            </c:numRef>
          </c:val>
          <c:smooth val="0"/>
          <c:extLst>
            <c:ext xmlns:c16="http://schemas.microsoft.com/office/drawing/2014/chart" uri="{C3380CC4-5D6E-409C-BE32-E72D297353CC}">
              <c16:uniqueId val="{00000001-6A6E-44F0-85DC-BF4E35ADDB51}"/>
            </c:ext>
          </c:extLst>
        </c:ser>
        <c:dLbls>
          <c:showLegendKey val="0"/>
          <c:showVal val="0"/>
          <c:showCatName val="0"/>
          <c:showSerName val="0"/>
          <c:showPercent val="0"/>
          <c:showBubbleSize val="0"/>
        </c:dLbls>
        <c:marker val="1"/>
        <c:smooth val="0"/>
        <c:axId val="3"/>
        <c:axId val="2"/>
      </c:lineChart>
      <c:catAx>
        <c:axId val="151120409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500" kern="1200" baseline="0">
                <a:solidFill>
                  <a:schemeClr val="tx1"/>
                </a:solidFill>
                <a:latin typeface="微软雅黑"/>
                <a:ea typeface="微软雅黑"/>
                <a:cs typeface="+mn-cs"/>
              </a:defRPr>
            </a:pPr>
            <a:endParaRPr lang="zh-CN"/>
          </a:p>
        </c:txPr>
        <c:crossAx val="1511204096"/>
        <c:crosses val="min"/>
        <c:crossBetween val="midCat"/>
        <c:majorUnit val="10"/>
      </c:valAx>
      <c:valAx>
        <c:axId val="2"/>
        <c:scaling>
          <c:orientation val="minMax"/>
          <c:max val="6000"/>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500" kern="1200" baseline="0">
                <a:solidFill>
                  <a:schemeClr val="tx1"/>
                </a:solidFill>
                <a:latin typeface="微软雅黑"/>
                <a:ea typeface="微软雅黑"/>
                <a:cs typeface="+mn-cs"/>
              </a:defRPr>
            </a:pPr>
            <a:endParaRPr lang="zh-CN"/>
          </a:p>
        </c:txPr>
        <c:crossAx val="3"/>
        <c:crosses val="max"/>
        <c:crossBetween val="midCat"/>
        <c:majorUnit val="10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3!$L$41</c:f>
              <c:strCache>
                <c:ptCount val="1"/>
                <c:pt idx="0">
                  <c:v>退出时间</c:v>
                </c:pt>
              </c:strCache>
            </c:strRef>
          </c:tx>
          <c:spPr>
            <a:solidFill>
              <a:schemeClr val="accent1">
                <a:lumMod val="75000"/>
              </a:schemeClr>
            </a:solidFill>
            <a:ln>
              <a:noFill/>
            </a:ln>
            <a:effectLst/>
          </c:spPr>
          <c:invertIfNegative val="0"/>
          <c:cat>
            <c:strRef>
              <c:f>Sheet3!$J$42:$J$64</c:f>
              <c:strCache>
                <c:ptCount val="23"/>
                <c:pt idx="0">
                  <c:v>Red Hat</c:v>
                </c:pt>
                <c:pt idx="1">
                  <c:v>MySQL</c:v>
                </c:pt>
                <c:pt idx="2">
                  <c:v>Pentaho</c:v>
                </c:pt>
                <c:pt idx="3">
                  <c:v>Talend</c:v>
                </c:pt>
                <c:pt idx="4">
                  <c:v>Semmle</c:v>
                </c:pt>
                <c:pt idx="5">
                  <c:v>MuleSoft</c:v>
                </c:pt>
                <c:pt idx="6">
                  <c:v>Acquia</c:v>
                </c:pt>
                <c:pt idx="7">
                  <c:v>Magento</c:v>
                </c:pt>
                <c:pt idx="8">
                  <c:v>MongoDB</c:v>
                </c:pt>
                <c:pt idx="9">
                  <c:v>Nicira</c:v>
                </c:pt>
                <c:pt idx="10">
                  <c:v>Cloudera</c:v>
                </c:pt>
                <c:pt idx="11">
                  <c:v>Instructure</c:v>
                </c:pt>
                <c:pt idx="12">
                  <c:v>GitHub</c:v>
                </c:pt>
                <c:pt idx="13">
                  <c:v>CitusData</c:v>
                </c:pt>
                <c:pt idx="14">
                  <c:v>NGNIX</c:v>
                </c:pt>
                <c:pt idx="15">
                  <c:v>Fastly</c:v>
                </c:pt>
                <c:pt idx="16">
                  <c:v>Hortonworks</c:v>
                </c:pt>
                <c:pt idx="17">
                  <c:v>Elastic</c:v>
                </c:pt>
                <c:pt idx="18">
                  <c:v>Pivotal</c:v>
                </c:pt>
                <c:pt idx="19">
                  <c:v>Flink</c:v>
                </c:pt>
                <c:pt idx="20">
                  <c:v>Streamlio</c:v>
                </c:pt>
                <c:pt idx="21">
                  <c:v>Jfrog</c:v>
                </c:pt>
                <c:pt idx="22">
                  <c:v>GitLab</c:v>
                </c:pt>
              </c:strCache>
            </c:strRef>
          </c:cat>
          <c:val>
            <c:numRef>
              <c:f>Sheet3!$L$42:$L$64</c:f>
              <c:numCache>
                <c:formatCode>General</c:formatCode>
                <c:ptCount val="23"/>
                <c:pt idx="0">
                  <c:v>1999</c:v>
                </c:pt>
                <c:pt idx="1">
                  <c:v>2008</c:v>
                </c:pt>
                <c:pt idx="2">
                  <c:v>2015</c:v>
                </c:pt>
                <c:pt idx="3">
                  <c:v>2016</c:v>
                </c:pt>
                <c:pt idx="4">
                  <c:v>2019</c:v>
                </c:pt>
                <c:pt idx="5">
                  <c:v>2017</c:v>
                </c:pt>
                <c:pt idx="6">
                  <c:v>2019</c:v>
                </c:pt>
                <c:pt idx="7">
                  <c:v>2018</c:v>
                </c:pt>
                <c:pt idx="8">
                  <c:v>2017</c:v>
                </c:pt>
                <c:pt idx="9">
                  <c:v>2012</c:v>
                </c:pt>
                <c:pt idx="10">
                  <c:v>2017</c:v>
                </c:pt>
                <c:pt idx="11">
                  <c:v>2015</c:v>
                </c:pt>
                <c:pt idx="12">
                  <c:v>2018</c:v>
                </c:pt>
                <c:pt idx="13">
                  <c:v>2019</c:v>
                </c:pt>
                <c:pt idx="14">
                  <c:v>2019</c:v>
                </c:pt>
                <c:pt idx="15">
                  <c:v>2019</c:v>
                </c:pt>
                <c:pt idx="16">
                  <c:v>2014</c:v>
                </c:pt>
                <c:pt idx="17">
                  <c:v>2018</c:v>
                </c:pt>
                <c:pt idx="18">
                  <c:v>2018</c:v>
                </c:pt>
                <c:pt idx="19">
                  <c:v>2019</c:v>
                </c:pt>
                <c:pt idx="20">
                  <c:v>2019</c:v>
                </c:pt>
                <c:pt idx="21">
                  <c:v>2020</c:v>
                </c:pt>
                <c:pt idx="22">
                  <c:v>2021</c:v>
                </c:pt>
              </c:numCache>
            </c:numRef>
          </c:val>
          <c:extLst>
            <c:ext xmlns:c16="http://schemas.microsoft.com/office/drawing/2014/chart" uri="{C3380CC4-5D6E-409C-BE32-E72D297353CC}">
              <c16:uniqueId val="{00000000-CFAD-400C-97C1-0E7088CA2ED1}"/>
            </c:ext>
          </c:extLst>
        </c:ser>
        <c:ser>
          <c:idx val="1"/>
          <c:order val="1"/>
          <c:tx>
            <c:strRef>
              <c:f>Sheet3!$K$41</c:f>
              <c:strCache>
                <c:ptCount val="1"/>
                <c:pt idx="0">
                  <c:v>创立</c:v>
                </c:pt>
              </c:strCache>
            </c:strRef>
          </c:tx>
          <c:spPr>
            <a:solidFill>
              <a:srgbClr val="E9EBEF"/>
            </a:solidFill>
            <a:ln>
              <a:noFill/>
            </a:ln>
            <a:effectLst/>
          </c:spPr>
          <c:invertIfNegative val="1"/>
          <c:dPt>
            <c:idx val="0"/>
            <c:invertIfNegative val="1"/>
            <c:bubble3D val="0"/>
            <c:spPr>
              <a:solidFill>
                <a:srgbClr val="CAE4F3"/>
              </a:solidFill>
              <a:ln>
                <a:noFill/>
              </a:ln>
              <a:effectLst/>
            </c:spPr>
            <c:extLst>
              <c:ext xmlns:c16="http://schemas.microsoft.com/office/drawing/2014/chart" uri="{C3380CC4-5D6E-409C-BE32-E72D297353CC}">
                <c16:uniqueId val="{00000002-CFAD-400C-97C1-0E7088CA2ED1}"/>
              </c:ext>
            </c:extLst>
          </c:dPt>
          <c:dPt>
            <c:idx val="1"/>
            <c:invertIfNegative val="1"/>
            <c:bubble3D val="0"/>
            <c:spPr>
              <a:solidFill>
                <a:srgbClr val="CEE5F3"/>
              </a:solidFill>
              <a:ln>
                <a:noFill/>
              </a:ln>
              <a:effectLst/>
            </c:spPr>
            <c:extLst>
              <c:ext xmlns:c16="http://schemas.microsoft.com/office/drawing/2014/chart" uri="{C3380CC4-5D6E-409C-BE32-E72D297353CC}">
                <c16:uniqueId val="{00000003-CFAD-400C-97C1-0E7088CA2ED1}"/>
              </c:ext>
            </c:extLst>
          </c:dPt>
          <c:dPt>
            <c:idx val="2"/>
            <c:invertIfNegative val="1"/>
            <c:bubble3D val="0"/>
            <c:spPr>
              <a:solidFill>
                <a:srgbClr val="D1E5F3"/>
              </a:solidFill>
              <a:ln>
                <a:noFill/>
              </a:ln>
              <a:effectLst/>
            </c:spPr>
            <c:extLst>
              <c:ext xmlns:c16="http://schemas.microsoft.com/office/drawing/2014/chart" uri="{C3380CC4-5D6E-409C-BE32-E72D297353CC}">
                <c16:uniqueId val="{00000004-CFAD-400C-97C1-0E7088CA2ED1}"/>
              </c:ext>
            </c:extLst>
          </c:dPt>
          <c:dPt>
            <c:idx val="3"/>
            <c:invertIfNegative val="1"/>
            <c:bubble3D val="0"/>
            <c:spPr>
              <a:solidFill>
                <a:srgbClr val="D3E6F3"/>
              </a:solidFill>
              <a:ln>
                <a:noFill/>
              </a:ln>
              <a:effectLst/>
            </c:spPr>
            <c:extLst>
              <c:ext xmlns:c16="http://schemas.microsoft.com/office/drawing/2014/chart" uri="{C3380CC4-5D6E-409C-BE32-E72D297353CC}">
                <c16:uniqueId val="{00000005-CFAD-400C-97C1-0E7088CA2ED1}"/>
              </c:ext>
            </c:extLst>
          </c:dPt>
          <c:dPt>
            <c:idx val="4"/>
            <c:invertIfNegative val="1"/>
            <c:bubble3D val="0"/>
            <c:spPr>
              <a:solidFill>
                <a:srgbClr val="D6E6F3"/>
              </a:solidFill>
              <a:ln>
                <a:noFill/>
              </a:ln>
              <a:effectLst/>
            </c:spPr>
            <c:extLst>
              <c:ext xmlns:c16="http://schemas.microsoft.com/office/drawing/2014/chart" uri="{C3380CC4-5D6E-409C-BE32-E72D297353CC}">
                <c16:uniqueId val="{00000006-CFAD-400C-97C1-0E7088CA2ED1}"/>
              </c:ext>
            </c:extLst>
          </c:dPt>
          <c:dPt>
            <c:idx val="5"/>
            <c:invertIfNegative val="1"/>
            <c:bubble3D val="0"/>
            <c:spPr>
              <a:solidFill>
                <a:srgbClr val="D9E7F2"/>
              </a:solidFill>
              <a:ln>
                <a:noFill/>
              </a:ln>
              <a:effectLst/>
            </c:spPr>
            <c:extLst>
              <c:ext xmlns:c16="http://schemas.microsoft.com/office/drawing/2014/chart" uri="{C3380CC4-5D6E-409C-BE32-E72D297353CC}">
                <c16:uniqueId val="{00000007-CFAD-400C-97C1-0E7088CA2ED1}"/>
              </c:ext>
            </c:extLst>
          </c:dPt>
          <c:dPt>
            <c:idx val="6"/>
            <c:invertIfNegative val="1"/>
            <c:bubble3D val="0"/>
            <c:spPr>
              <a:solidFill>
                <a:srgbClr val="DAE7F2"/>
              </a:solidFill>
              <a:ln>
                <a:noFill/>
              </a:ln>
              <a:effectLst/>
            </c:spPr>
            <c:extLst>
              <c:ext xmlns:c16="http://schemas.microsoft.com/office/drawing/2014/chart" uri="{C3380CC4-5D6E-409C-BE32-E72D297353CC}">
                <c16:uniqueId val="{00000008-CFAD-400C-97C1-0E7088CA2ED1}"/>
              </c:ext>
            </c:extLst>
          </c:dPt>
          <c:dPt>
            <c:idx val="7"/>
            <c:invertIfNegative val="1"/>
            <c:bubble3D val="0"/>
            <c:spPr>
              <a:solidFill>
                <a:srgbClr val="DDE8F2"/>
              </a:solidFill>
              <a:ln>
                <a:noFill/>
              </a:ln>
              <a:effectLst/>
            </c:spPr>
            <c:extLst>
              <c:ext xmlns:c16="http://schemas.microsoft.com/office/drawing/2014/chart" uri="{C3380CC4-5D6E-409C-BE32-E72D297353CC}">
                <c16:uniqueId val="{00000009-CFAD-400C-97C1-0E7088CA2ED1}"/>
              </c:ext>
            </c:extLst>
          </c:dPt>
          <c:dPt>
            <c:idx val="8"/>
            <c:invertIfNegative val="1"/>
            <c:bubble3D val="0"/>
            <c:spPr>
              <a:solidFill>
                <a:srgbClr val="E0E9F1"/>
              </a:solidFill>
              <a:ln>
                <a:noFill/>
              </a:ln>
              <a:effectLst/>
            </c:spPr>
            <c:extLst>
              <c:ext xmlns:c16="http://schemas.microsoft.com/office/drawing/2014/chart" uri="{C3380CC4-5D6E-409C-BE32-E72D297353CC}">
                <c16:uniqueId val="{0000000A-CFAD-400C-97C1-0E7088CA2ED1}"/>
              </c:ext>
            </c:extLst>
          </c:dPt>
          <c:dPt>
            <c:idx val="9"/>
            <c:invertIfNegative val="1"/>
            <c:bubble3D val="0"/>
            <c:spPr>
              <a:solidFill>
                <a:srgbClr val="E1E9F1"/>
              </a:solidFill>
              <a:ln>
                <a:noFill/>
              </a:ln>
              <a:effectLst/>
            </c:spPr>
            <c:extLst>
              <c:ext xmlns:c16="http://schemas.microsoft.com/office/drawing/2014/chart" uri="{C3380CC4-5D6E-409C-BE32-E72D297353CC}">
                <c16:uniqueId val="{0000000B-CFAD-400C-97C1-0E7088CA2ED1}"/>
              </c:ext>
            </c:extLst>
          </c:dPt>
          <c:dPt>
            <c:idx val="10"/>
            <c:invertIfNegative val="1"/>
            <c:bubble3D val="0"/>
            <c:spPr>
              <a:solidFill>
                <a:srgbClr val="E3EAF1"/>
              </a:solidFill>
              <a:ln>
                <a:noFill/>
              </a:ln>
              <a:effectLst/>
            </c:spPr>
            <c:extLst>
              <c:ext xmlns:c16="http://schemas.microsoft.com/office/drawing/2014/chart" uri="{C3380CC4-5D6E-409C-BE32-E72D297353CC}">
                <c16:uniqueId val="{0000000C-CFAD-400C-97C1-0E7088CA2ED1}"/>
              </c:ext>
            </c:extLst>
          </c:dPt>
          <c:dPt>
            <c:idx val="17"/>
            <c:invertIfNegative val="1"/>
            <c:bubble3D val="0"/>
            <c:spPr>
              <a:solidFill>
                <a:srgbClr val="F0EDEE"/>
              </a:solidFill>
              <a:ln>
                <a:noFill/>
              </a:ln>
              <a:effectLst/>
            </c:spPr>
            <c:extLst>
              <c:ext xmlns:c16="http://schemas.microsoft.com/office/drawing/2014/chart" uri="{C3380CC4-5D6E-409C-BE32-E72D297353CC}">
                <c16:uniqueId val="{00000012-CFAD-400C-97C1-0E7088CA2ED1}"/>
              </c:ext>
            </c:extLst>
          </c:dPt>
          <c:dPt>
            <c:idx val="18"/>
            <c:invertIfNegative val="1"/>
            <c:bubble3D val="0"/>
            <c:spPr>
              <a:solidFill>
                <a:srgbClr val="F1EDED"/>
              </a:solidFill>
              <a:ln>
                <a:noFill/>
              </a:ln>
              <a:effectLst/>
            </c:spPr>
            <c:extLst>
              <c:ext xmlns:c16="http://schemas.microsoft.com/office/drawing/2014/chart" uri="{C3380CC4-5D6E-409C-BE32-E72D297353CC}">
                <c16:uniqueId val="{00000011-CFAD-400C-97C1-0E7088CA2ED1}"/>
              </c:ext>
            </c:extLst>
          </c:dPt>
          <c:dPt>
            <c:idx val="19"/>
            <c:invertIfNegative val="1"/>
            <c:bubble3D val="0"/>
            <c:spPr>
              <a:solidFill>
                <a:srgbClr val="F3EDED"/>
              </a:solidFill>
              <a:ln>
                <a:noFill/>
              </a:ln>
              <a:effectLst/>
            </c:spPr>
            <c:extLst>
              <c:ext xmlns:c16="http://schemas.microsoft.com/office/drawing/2014/chart" uri="{C3380CC4-5D6E-409C-BE32-E72D297353CC}">
                <c16:uniqueId val="{00000010-CFAD-400C-97C1-0E7088CA2ED1}"/>
              </c:ext>
            </c:extLst>
          </c:dPt>
          <c:dPt>
            <c:idx val="20"/>
            <c:invertIfNegative val="1"/>
            <c:bubble3D val="0"/>
            <c:spPr>
              <a:solidFill>
                <a:srgbClr val="F4EEEC"/>
              </a:solidFill>
              <a:ln>
                <a:noFill/>
              </a:ln>
              <a:effectLst/>
            </c:spPr>
            <c:extLst>
              <c:ext xmlns:c16="http://schemas.microsoft.com/office/drawing/2014/chart" uri="{C3380CC4-5D6E-409C-BE32-E72D297353CC}">
                <c16:uniqueId val="{0000000F-CFAD-400C-97C1-0E7088CA2ED1}"/>
              </c:ext>
            </c:extLst>
          </c:dPt>
          <c:dPt>
            <c:idx val="21"/>
            <c:invertIfNegative val="1"/>
            <c:bubble3D val="0"/>
            <c:spPr>
              <a:solidFill>
                <a:srgbClr val="F6EEEB"/>
              </a:solidFill>
              <a:ln>
                <a:noFill/>
              </a:ln>
              <a:effectLst/>
            </c:spPr>
            <c:extLst>
              <c:ext xmlns:c16="http://schemas.microsoft.com/office/drawing/2014/chart" uri="{C3380CC4-5D6E-409C-BE32-E72D297353CC}">
                <c16:uniqueId val="{0000000E-CFAD-400C-97C1-0E7088CA2ED1}"/>
              </c:ext>
            </c:extLst>
          </c:dPt>
          <c:dPt>
            <c:idx val="22"/>
            <c:invertIfNegative val="1"/>
            <c:bubble3D val="0"/>
            <c:spPr>
              <a:solidFill>
                <a:srgbClr val="F7EEEB"/>
              </a:solidFill>
              <a:ln>
                <a:noFill/>
              </a:ln>
              <a:effectLst/>
            </c:spPr>
            <c:extLst>
              <c:ext xmlns:c16="http://schemas.microsoft.com/office/drawing/2014/chart" uri="{C3380CC4-5D6E-409C-BE32-E72D297353CC}">
                <c16:uniqueId val="{0000000D-CFAD-400C-97C1-0E7088CA2ED1}"/>
              </c:ext>
            </c:extLst>
          </c:dPt>
          <c:val>
            <c:numRef>
              <c:f>Sheet3!$K$42:$K$64</c:f>
              <c:numCache>
                <c:formatCode>General</c:formatCode>
                <c:ptCount val="23"/>
                <c:pt idx="0">
                  <c:v>1993</c:v>
                </c:pt>
                <c:pt idx="1">
                  <c:v>1995</c:v>
                </c:pt>
                <c:pt idx="2">
                  <c:v>2004</c:v>
                </c:pt>
                <c:pt idx="3">
                  <c:v>2005</c:v>
                </c:pt>
                <c:pt idx="4">
                  <c:v>2006</c:v>
                </c:pt>
                <c:pt idx="5">
                  <c:v>2006</c:v>
                </c:pt>
                <c:pt idx="6">
                  <c:v>2007</c:v>
                </c:pt>
                <c:pt idx="7">
                  <c:v>2007</c:v>
                </c:pt>
                <c:pt idx="8">
                  <c:v>2007</c:v>
                </c:pt>
                <c:pt idx="9">
                  <c:v>2007</c:v>
                </c:pt>
                <c:pt idx="10">
                  <c:v>2008</c:v>
                </c:pt>
                <c:pt idx="11">
                  <c:v>2008</c:v>
                </c:pt>
                <c:pt idx="12">
                  <c:v>2009</c:v>
                </c:pt>
                <c:pt idx="13">
                  <c:v>2011</c:v>
                </c:pt>
                <c:pt idx="14">
                  <c:v>2011</c:v>
                </c:pt>
                <c:pt idx="15">
                  <c:v>2011</c:v>
                </c:pt>
                <c:pt idx="16">
                  <c:v>2011</c:v>
                </c:pt>
                <c:pt idx="17">
                  <c:v>2012</c:v>
                </c:pt>
                <c:pt idx="18">
                  <c:v>2013</c:v>
                </c:pt>
                <c:pt idx="19">
                  <c:v>2014</c:v>
                </c:pt>
                <c:pt idx="20">
                  <c:v>2017</c:v>
                </c:pt>
                <c:pt idx="21">
                  <c:v>2008</c:v>
                </c:pt>
                <c:pt idx="22">
                  <c:v>2014</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1-CFAD-400C-97C1-0E7088CA2ED1}"/>
            </c:ext>
          </c:extLst>
        </c:ser>
        <c:dLbls>
          <c:showLegendKey val="0"/>
          <c:showVal val="0"/>
          <c:showCatName val="0"/>
          <c:showSerName val="0"/>
          <c:showPercent val="0"/>
          <c:showBubbleSize val="0"/>
        </c:dLbls>
        <c:gapWidth val="182"/>
        <c:overlap val="100"/>
        <c:axId val="-2126715600"/>
        <c:axId val="2120600656"/>
      </c:barChart>
      <c:catAx>
        <c:axId val="-2126715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微软雅黑" panose="020B0503020204020204" pitchFamily="34" charset="-122"/>
                <a:ea typeface="微软雅黑" panose="020B0503020204020204" pitchFamily="34" charset="-122"/>
                <a:cs typeface="+mn-cs"/>
              </a:defRPr>
            </a:pPr>
            <a:endParaRPr lang="zh-CN"/>
          </a:p>
        </c:txPr>
        <c:crossAx val="2120600656"/>
        <c:crosses val="autoZero"/>
        <c:auto val="1"/>
        <c:lblAlgn val="ctr"/>
        <c:lblOffset val="100"/>
        <c:noMultiLvlLbl val="0"/>
      </c:catAx>
      <c:valAx>
        <c:axId val="2120600656"/>
        <c:scaling>
          <c:orientation val="minMax"/>
          <c:max val="2021"/>
          <c:min val="199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ysClr val="windowText" lastClr="000000"/>
                </a:solidFill>
                <a:latin typeface="微软雅黑" panose="020B0503020204020204" pitchFamily="34" charset="-122"/>
                <a:ea typeface="微软雅黑" panose="020B0503020204020204" pitchFamily="34" charset="-122"/>
                <a:cs typeface="+mn-cs"/>
              </a:defRPr>
            </a:pPr>
            <a:endParaRPr lang="zh-CN"/>
          </a:p>
        </c:txPr>
        <c:crossAx val="-212671560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700">
          <a:solidFill>
            <a:sysClr val="windowText" lastClr="000000"/>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3!$R$1</c:f>
              <c:strCache>
                <c:ptCount val="1"/>
                <c:pt idx="0">
                  <c:v>MONGODB</c:v>
                </c:pt>
              </c:strCache>
            </c:strRef>
          </c:tx>
          <c:spPr>
            <a:ln w="28575" cap="rnd">
              <a:solidFill>
                <a:schemeClr val="accent1">
                  <a:shade val="47000"/>
                </a:schemeClr>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R$2:$R$1410</c:f>
              <c:numCache>
                <c:formatCode>General</c:formatCode>
                <c:ptCount val="1409"/>
                <c:pt idx="0">
                  <c:v>0.31213830735867759</c:v>
                </c:pt>
                <c:pt idx="1">
                  <c:v>0.31436902853089771</c:v>
                </c:pt>
                <c:pt idx="2">
                  <c:v>0.32647533822596736</c:v>
                </c:pt>
                <c:pt idx="3">
                  <c:v>0.3226645228900914</c:v>
                </c:pt>
                <c:pt idx="4">
                  <c:v>0.32594089461178966</c:v>
                </c:pt>
                <c:pt idx="5">
                  <c:v>0.34845723644388665</c:v>
                </c:pt>
                <c:pt idx="6">
                  <c:v>0.34676095888584418</c:v>
                </c:pt>
                <c:pt idx="7">
                  <c:v>0.35531205671268812</c:v>
                </c:pt>
                <c:pt idx="8">
                  <c:v>0.35512616328166974</c:v>
                </c:pt>
                <c:pt idx="9">
                  <c:v>0.35408051273219154</c:v>
                </c:pt>
                <c:pt idx="10">
                  <c:v>0.35296515214608148</c:v>
                </c:pt>
                <c:pt idx="11">
                  <c:v>0.34713274574788089</c:v>
                </c:pt>
                <c:pt idx="12">
                  <c:v>0.34713274574788089</c:v>
                </c:pt>
                <c:pt idx="13">
                  <c:v>0.34548294154759313</c:v>
                </c:pt>
                <c:pt idx="14">
                  <c:v>0.34845723644388665</c:v>
                </c:pt>
                <c:pt idx="15">
                  <c:v>0.34522733807994282</c:v>
                </c:pt>
                <c:pt idx="16">
                  <c:v>0.38379828596013599</c:v>
                </c:pt>
                <c:pt idx="17">
                  <c:v>0.40452381637199175</c:v>
                </c:pt>
                <c:pt idx="18">
                  <c:v>0.38351630595453251</c:v>
                </c:pt>
                <c:pt idx="19">
                  <c:v>0.38445623930654416</c:v>
                </c:pt>
                <c:pt idx="20">
                  <c:v>0.38563115599655867</c:v>
                </c:pt>
                <c:pt idx="21">
                  <c:v>0.39065979942982065</c:v>
                </c:pt>
                <c:pt idx="22">
                  <c:v>0.39197570612263682</c:v>
                </c:pt>
                <c:pt idx="23">
                  <c:v>0.40085807629914649</c:v>
                </c:pt>
                <c:pt idx="24">
                  <c:v>0.39926018960072673</c:v>
                </c:pt>
                <c:pt idx="25">
                  <c:v>0.40259695300036796</c:v>
                </c:pt>
                <c:pt idx="26">
                  <c:v>0.40259695300036796</c:v>
                </c:pt>
                <c:pt idx="27">
                  <c:v>0.41568552492712946</c:v>
                </c:pt>
                <c:pt idx="28">
                  <c:v>0.42318149340942196</c:v>
                </c:pt>
                <c:pt idx="29">
                  <c:v>0.41850532498316423</c:v>
                </c:pt>
                <c:pt idx="30">
                  <c:v>0.38748752436678152</c:v>
                </c:pt>
                <c:pt idx="31">
                  <c:v>0.36152186551746107</c:v>
                </c:pt>
                <c:pt idx="32">
                  <c:v>0.35101811030873142</c:v>
                </c:pt>
                <c:pt idx="33">
                  <c:v>0.35543579706318601</c:v>
                </c:pt>
                <c:pt idx="34">
                  <c:v>0.35290972617965477</c:v>
                </c:pt>
                <c:pt idx="35">
                  <c:v>0.35834959045442188</c:v>
                </c:pt>
                <c:pt idx="36">
                  <c:v>0.36572806726771295</c:v>
                </c:pt>
                <c:pt idx="37">
                  <c:v>0.36460014724529904</c:v>
                </c:pt>
                <c:pt idx="38">
                  <c:v>0.3743754541062197</c:v>
                </c:pt>
                <c:pt idx="39">
                  <c:v>0.37376449742741213</c:v>
                </c:pt>
                <c:pt idx="40">
                  <c:v>0.35273348867615267</c:v>
                </c:pt>
                <c:pt idx="41">
                  <c:v>0.30042619763670714</c:v>
                </c:pt>
                <c:pt idx="42">
                  <c:v>0.31452519791688111</c:v>
                </c:pt>
                <c:pt idx="43">
                  <c:v>0.29102686411659112</c:v>
                </c:pt>
                <c:pt idx="44">
                  <c:v>0.26212391354223452</c:v>
                </c:pt>
                <c:pt idx="45">
                  <c:v>0.2706303103779395</c:v>
                </c:pt>
                <c:pt idx="46">
                  <c:v>0.23256300962146978</c:v>
                </c:pt>
                <c:pt idx="47">
                  <c:v>0.26910291868092068</c:v>
                </c:pt>
                <c:pt idx="48">
                  <c:v>0.2484478832704658</c:v>
                </c:pt>
                <c:pt idx="49">
                  <c:v>0.28710264237194277</c:v>
                </c:pt>
                <c:pt idx="50">
                  <c:v>0.28315492229349404</c:v>
                </c:pt>
                <c:pt idx="51">
                  <c:v>0.29601323849408295</c:v>
                </c:pt>
                <c:pt idx="52">
                  <c:v>0.32161412859558602</c:v>
                </c:pt>
                <c:pt idx="53">
                  <c:v>0.31659295954252881</c:v>
                </c:pt>
                <c:pt idx="54">
                  <c:v>0.31378770547063306</c:v>
                </c:pt>
                <c:pt idx="55">
                  <c:v>0.31143034910769535</c:v>
                </c:pt>
                <c:pt idx="56">
                  <c:v>0.32161412859558602</c:v>
                </c:pt>
                <c:pt idx="57">
                  <c:v>0.3218734377955092</c:v>
                </c:pt>
                <c:pt idx="58">
                  <c:v>0.2973569316209575</c:v>
                </c:pt>
                <c:pt idx="59">
                  <c:v>0.29485813387624349</c:v>
                </c:pt>
                <c:pt idx="60">
                  <c:v>0.28399072104310091</c:v>
                </c:pt>
                <c:pt idx="61">
                  <c:v>0.31074671576244345</c:v>
                </c:pt>
                <c:pt idx="62">
                  <c:v>0.31899746303272525</c:v>
                </c:pt>
                <c:pt idx="63">
                  <c:v>0.33083139197467237</c:v>
                </c:pt>
                <c:pt idx="64">
                  <c:v>0.33083139197467237</c:v>
                </c:pt>
                <c:pt idx="65">
                  <c:v>0.3345088679008551</c:v>
                </c:pt>
                <c:pt idx="66">
                  <c:v>0.35124609807771251</c:v>
                </c:pt>
                <c:pt idx="67">
                  <c:v>0.35339129236798583</c:v>
                </c:pt>
                <c:pt idx="68">
                  <c:v>0.36298573276514207</c:v>
                </c:pt>
                <c:pt idx="69">
                  <c:v>0.363480777601359</c:v>
                </c:pt>
                <c:pt idx="70">
                  <c:v>0.37783707785164944</c:v>
                </c:pt>
                <c:pt idx="71">
                  <c:v>0.35888393269363067</c:v>
                </c:pt>
                <c:pt idx="72">
                  <c:v>0.373240232943921</c:v>
                </c:pt>
                <c:pt idx="73">
                  <c:v>0.37267446741681592</c:v>
                </c:pt>
                <c:pt idx="74">
                  <c:v>0.37703557668825061</c:v>
                </c:pt>
                <c:pt idx="75">
                  <c:v>0.37806102670612851</c:v>
                </c:pt>
                <c:pt idx="76">
                  <c:v>0.36480089716460412</c:v>
                </c:pt>
                <c:pt idx="77">
                  <c:v>0.37498467665249485</c:v>
                </c:pt>
                <c:pt idx="78">
                  <c:v>0.38506092301663108</c:v>
                </c:pt>
                <c:pt idx="79">
                  <c:v>0.40520103667345608</c:v>
                </c:pt>
                <c:pt idx="80">
                  <c:v>0.41664860127556652</c:v>
                </c:pt>
                <c:pt idx="81">
                  <c:v>0.41916611548266958</c:v>
                </c:pt>
                <c:pt idx="82">
                  <c:v>0.44517251224472543</c:v>
                </c:pt>
                <c:pt idx="83">
                  <c:v>0.45837758676500218</c:v>
                </c:pt>
                <c:pt idx="84">
                  <c:v>0.46101385164225167</c:v>
                </c:pt>
                <c:pt idx="85">
                  <c:v>0.46151260445686637</c:v>
                </c:pt>
                <c:pt idx="86">
                  <c:v>0.46616763072660422</c:v>
                </c:pt>
                <c:pt idx="87">
                  <c:v>0.46115635244642728</c:v>
                </c:pt>
                <c:pt idx="88">
                  <c:v>0.47552518353413858</c:v>
                </c:pt>
                <c:pt idx="89">
                  <c:v>0.49072526931287436</c:v>
                </c:pt>
                <c:pt idx="90">
                  <c:v>0.4961878001396075</c:v>
                </c:pt>
                <c:pt idx="91">
                  <c:v>0.52316795239686353</c:v>
                </c:pt>
                <c:pt idx="92">
                  <c:v>0.52316795239686353</c:v>
                </c:pt>
                <c:pt idx="93">
                  <c:v>0.5140954011976806</c:v>
                </c:pt>
                <c:pt idx="94">
                  <c:v>0.50324158994630208</c:v>
                </c:pt>
                <c:pt idx="95">
                  <c:v>0.51205288967116303</c:v>
                </c:pt>
                <c:pt idx="96">
                  <c:v>0.55126436095349551</c:v>
                </c:pt>
                <c:pt idx="97">
                  <c:v>0.56615569498985086</c:v>
                </c:pt>
                <c:pt idx="98">
                  <c:v>0.55917038065246949</c:v>
                </c:pt>
                <c:pt idx="99">
                  <c:v>0.55688533227248316</c:v>
                </c:pt>
                <c:pt idx="100">
                  <c:v>0.52375213076268246</c:v>
                </c:pt>
                <c:pt idx="101">
                  <c:v>0.47124362319758173</c:v>
                </c:pt>
                <c:pt idx="102">
                  <c:v>0.48528714969958053</c:v>
                </c:pt>
                <c:pt idx="103">
                  <c:v>0.48009818567002849</c:v>
                </c:pt>
                <c:pt idx="104">
                  <c:v>0.49552226223493567</c:v>
                </c:pt>
                <c:pt idx="105">
                  <c:v>0.46853012824634804</c:v>
                </c:pt>
                <c:pt idx="106">
                  <c:v>0.46098470807493508</c:v>
                </c:pt>
                <c:pt idx="107">
                  <c:v>0.48019339601919458</c:v>
                </c:pt>
                <c:pt idx="108">
                  <c:v>0.48497771606479079</c:v>
                </c:pt>
                <c:pt idx="109">
                  <c:v>0.49552226223493567</c:v>
                </c:pt>
                <c:pt idx="110">
                  <c:v>0.4976168899165897</c:v>
                </c:pt>
                <c:pt idx="111">
                  <c:v>0.4901904826816344</c:v>
                </c:pt>
                <c:pt idx="112">
                  <c:v>0.51546883038523228</c:v>
                </c:pt>
                <c:pt idx="113">
                  <c:v>0.51601628989293735</c:v>
                </c:pt>
                <c:pt idx="114">
                  <c:v>0.51851556155854728</c:v>
                </c:pt>
                <c:pt idx="115">
                  <c:v>0.52465662907976041</c:v>
                </c:pt>
                <c:pt idx="116">
                  <c:v>0.53874776075634234</c:v>
                </c:pt>
                <c:pt idx="117">
                  <c:v>0.54455559205547399</c:v>
                </c:pt>
                <c:pt idx="118">
                  <c:v>0.53598666063052558</c:v>
                </c:pt>
                <c:pt idx="119">
                  <c:v>0.53598666063052558</c:v>
                </c:pt>
                <c:pt idx="120">
                  <c:v>0.52846504304640407</c:v>
                </c:pt>
                <c:pt idx="121">
                  <c:v>0.53672454083656285</c:v>
                </c:pt>
                <c:pt idx="122">
                  <c:v>0.55709955555810686</c:v>
                </c:pt>
                <c:pt idx="123">
                  <c:v>0.56316921531744535</c:v>
                </c:pt>
                <c:pt idx="124">
                  <c:v>0.54350827821464698</c:v>
                </c:pt>
                <c:pt idx="125">
                  <c:v>0.4936418578389053</c:v>
                </c:pt>
                <c:pt idx="126">
                  <c:v>0.49973532018553529</c:v>
                </c:pt>
                <c:pt idx="127">
                  <c:v>0.49261834658536985</c:v>
                </c:pt>
                <c:pt idx="128">
                  <c:v>0.48778642136519051</c:v>
                </c:pt>
                <c:pt idx="129">
                  <c:v>0.49740266663096605</c:v>
                </c:pt>
                <c:pt idx="130">
                  <c:v>0.52841743787182116</c:v>
                </c:pt>
                <c:pt idx="131">
                  <c:v>0.51982470385958113</c:v>
                </c:pt>
                <c:pt idx="132">
                  <c:v>0.51601628989293735</c:v>
                </c:pt>
                <c:pt idx="133">
                  <c:v>0.4916186379191258</c:v>
                </c:pt>
                <c:pt idx="134">
                  <c:v>0.48709614633373638</c:v>
                </c:pt>
                <c:pt idx="135">
                  <c:v>0.49271355693453583</c:v>
                </c:pt>
                <c:pt idx="136">
                  <c:v>0.479622133924198</c:v>
                </c:pt>
                <c:pt idx="137">
                  <c:v>0.51484996311565268</c:v>
                </c:pt>
                <c:pt idx="138">
                  <c:v>0.54407954030964356</c:v>
                </c:pt>
                <c:pt idx="139">
                  <c:v>0.55213843884736391</c:v>
                </c:pt>
                <c:pt idx="140">
                  <c:v>0.52933754120681886</c:v>
                </c:pt>
                <c:pt idx="141">
                  <c:v>0.51738273652424971</c:v>
                </c:pt>
                <c:pt idx="142">
                  <c:v>0.52480628459326439</c:v>
                </c:pt>
                <c:pt idx="143">
                  <c:v>0.51518941550385899</c:v>
                </c:pt>
                <c:pt idx="144">
                  <c:v>0.48120499090220098</c:v>
                </c:pt>
                <c:pt idx="145">
                  <c:v>0.46228458429773184</c:v>
                </c:pt>
                <c:pt idx="146">
                  <c:v>0.46199535515218576</c:v>
                </c:pt>
                <c:pt idx="147">
                  <c:v>0.46999736151229249</c:v>
                </c:pt>
                <c:pt idx="148">
                  <c:v>0.48077114718388192</c:v>
                </c:pt>
                <c:pt idx="149">
                  <c:v>0.47995166460483485</c:v>
                </c:pt>
                <c:pt idx="150">
                  <c:v>0.49407568787899914</c:v>
                </c:pt>
                <c:pt idx="151">
                  <c:v>0.50554844398565812</c:v>
                </c:pt>
                <c:pt idx="152">
                  <c:v>0.51263455805153579</c:v>
                </c:pt>
                <c:pt idx="153">
                  <c:v>0.52977138492513798</c:v>
                </c:pt>
                <c:pt idx="154">
                  <c:v>0.52220322228335014</c:v>
                </c:pt>
                <c:pt idx="155">
                  <c:v>0.50853714515630044</c:v>
                </c:pt>
                <c:pt idx="156">
                  <c:v>0.52140784213309865</c:v>
                </c:pt>
                <c:pt idx="157">
                  <c:v>0.55155998055627176</c:v>
                </c:pt>
                <c:pt idx="158">
                  <c:v>0.54763128466260491</c:v>
                </c:pt>
                <c:pt idx="159">
                  <c:v>0.54449796891918978</c:v>
                </c:pt>
                <c:pt idx="160">
                  <c:v>0.56362262885118208</c:v>
                </c:pt>
                <c:pt idx="161">
                  <c:v>0.6044117429665028</c:v>
                </c:pt>
                <c:pt idx="162">
                  <c:v>0.57743596359590954</c:v>
                </c:pt>
                <c:pt idx="163">
                  <c:v>0.53503167770415461</c:v>
                </c:pt>
                <c:pt idx="164">
                  <c:v>0.51712014591474353</c:v>
                </c:pt>
                <c:pt idx="165">
                  <c:v>0.51712014591474353</c:v>
                </c:pt>
                <c:pt idx="166">
                  <c:v>0.50798357720924325</c:v>
                </c:pt>
                <c:pt idx="167">
                  <c:v>0.51969959934875032</c:v>
                </c:pt>
                <c:pt idx="168">
                  <c:v>0.50538001673379729</c:v>
                </c:pt>
                <c:pt idx="169">
                  <c:v>0.49993182536851216</c:v>
                </c:pt>
                <c:pt idx="170">
                  <c:v>0.50873089549386208</c:v>
                </c:pt>
                <c:pt idx="171">
                  <c:v>0.51492640514376598</c:v>
                </c:pt>
                <c:pt idx="172">
                  <c:v>0.49585773536526789</c:v>
                </c:pt>
                <c:pt idx="173">
                  <c:v>0.50299341963130517</c:v>
                </c:pt>
                <c:pt idx="174">
                  <c:v>0.51673443325171453</c:v>
                </c:pt>
                <c:pt idx="175">
                  <c:v>0.53647810019051345</c:v>
                </c:pt>
                <c:pt idx="176">
                  <c:v>0.53737006072376825</c:v>
                </c:pt>
                <c:pt idx="177">
                  <c:v>0.52796831456243531</c:v>
                </c:pt>
                <c:pt idx="178">
                  <c:v>0.52688349769766618</c:v>
                </c:pt>
                <c:pt idx="179">
                  <c:v>0.56212799228194454</c:v>
                </c:pt>
                <c:pt idx="180">
                  <c:v>0.55675212204097735</c:v>
                </c:pt>
                <c:pt idx="181">
                  <c:v>0.55950032476505918</c:v>
                </c:pt>
                <c:pt idx="182">
                  <c:v>0.55810211636157891</c:v>
                </c:pt>
                <c:pt idx="183">
                  <c:v>0.62454112256833083</c:v>
                </c:pt>
                <c:pt idx="184">
                  <c:v>0.63449733068276781</c:v>
                </c:pt>
                <c:pt idx="185">
                  <c:v>0.64643031619522862</c:v>
                </c:pt>
                <c:pt idx="186">
                  <c:v>0.63929463192919145</c:v>
                </c:pt>
                <c:pt idx="187">
                  <c:v>0.65057672732279082</c:v>
                </c:pt>
                <c:pt idx="188">
                  <c:v>0.64438121767288692</c:v>
                </c:pt>
                <c:pt idx="189">
                  <c:v>0.63941516713638813</c:v>
                </c:pt>
                <c:pt idx="190">
                  <c:v>0.61877953966433463</c:v>
                </c:pt>
                <c:pt idx="191">
                  <c:v>0.59987961917591159</c:v>
                </c:pt>
                <c:pt idx="192">
                  <c:v>0.59243054337116341</c:v>
                </c:pt>
                <c:pt idx="193">
                  <c:v>0.59785462769500919</c:v>
                </c:pt>
                <c:pt idx="194">
                  <c:v>0.5788100649579504</c:v>
                </c:pt>
                <c:pt idx="195">
                  <c:v>0.58823591816072252</c:v>
                </c:pt>
                <c:pt idx="196">
                  <c:v>0.57866542270931454</c:v>
                </c:pt>
                <c:pt idx="197">
                  <c:v>0.56817885968321258</c:v>
                </c:pt>
                <c:pt idx="198">
                  <c:v>0.5507735757640273</c:v>
                </c:pt>
                <c:pt idx="199">
                  <c:v>0.55224805891316242</c:v>
                </c:pt>
                <c:pt idx="200">
                  <c:v>0.55912098283308265</c:v>
                </c:pt>
                <c:pt idx="201">
                  <c:v>0.60272340340031871</c:v>
                </c:pt>
                <c:pt idx="202">
                  <c:v>0.62361315065513023</c:v>
                </c:pt>
                <c:pt idx="203">
                  <c:v>0.62176559046160329</c:v>
                </c:pt>
                <c:pt idx="204">
                  <c:v>0.59094828643357367</c:v>
                </c:pt>
                <c:pt idx="205">
                  <c:v>0.56673293083041376</c:v>
                </c:pt>
                <c:pt idx="206">
                  <c:v>0.6037580371086938</c:v>
                </c:pt>
                <c:pt idx="207">
                  <c:v>0.61836607970551372</c:v>
                </c:pt>
                <c:pt idx="208">
                  <c:v>0.6081182791654175</c:v>
                </c:pt>
                <c:pt idx="209">
                  <c:v>0.5984616978872499</c:v>
                </c:pt>
                <c:pt idx="210">
                  <c:v>0.611764131280644</c:v>
                </c:pt>
                <c:pt idx="211">
                  <c:v>0.60930071768927474</c:v>
                </c:pt>
                <c:pt idx="212">
                  <c:v>0.62844144129421398</c:v>
                </c:pt>
                <c:pt idx="213">
                  <c:v>0.65103094392707006</c:v>
                </c:pt>
                <c:pt idx="214">
                  <c:v>0.65366679646983528</c:v>
                </c:pt>
                <c:pt idx="215">
                  <c:v>0.65181923627630833</c:v>
                </c:pt>
                <c:pt idx="216">
                  <c:v>0.65378996714940363</c:v>
                </c:pt>
                <c:pt idx="217">
                  <c:v>0.65378996714940363</c:v>
                </c:pt>
                <c:pt idx="218">
                  <c:v>0.66517093794152971</c:v>
                </c:pt>
                <c:pt idx="219">
                  <c:v>0.70776335893630438</c:v>
                </c:pt>
                <c:pt idx="220">
                  <c:v>0.67817776170395949</c:v>
                </c:pt>
                <c:pt idx="221">
                  <c:v>0.65997313526374057</c:v>
                </c:pt>
                <c:pt idx="222">
                  <c:v>0.67007313098835453</c:v>
                </c:pt>
                <c:pt idx="223">
                  <c:v>0.68391751537184986</c:v>
                </c:pt>
                <c:pt idx="224">
                  <c:v>0.69215421272686817</c:v>
                </c:pt>
                <c:pt idx="225">
                  <c:v>0.69837338343239375</c:v>
                </c:pt>
                <c:pt idx="226">
                  <c:v>0.69104364652945294</c:v>
                </c:pt>
                <c:pt idx="227">
                  <c:v>0.78741611321626825</c:v>
                </c:pt>
                <c:pt idx="228">
                  <c:v>0.8390944602693261</c:v>
                </c:pt>
                <c:pt idx="229">
                  <c:v>0.83939061125530345</c:v>
                </c:pt>
                <c:pt idx="230">
                  <c:v>0.82722374158139822</c:v>
                </c:pt>
                <c:pt idx="231">
                  <c:v>0.83166600637105936</c:v>
                </c:pt>
                <c:pt idx="232">
                  <c:v>0.92016579268064203</c:v>
                </c:pt>
                <c:pt idx="233">
                  <c:v>0.93008685071088504</c:v>
                </c:pt>
                <c:pt idx="234">
                  <c:v>0.9459309284606765</c:v>
                </c:pt>
                <c:pt idx="235">
                  <c:v>0.97729825372545032</c:v>
                </c:pt>
                <c:pt idx="236">
                  <c:v>0.92848269953684093</c:v>
                </c:pt>
                <c:pt idx="237">
                  <c:v>0.93406020977274862</c:v>
                </c:pt>
                <c:pt idx="238">
                  <c:v>0.93406020977274862</c:v>
                </c:pt>
                <c:pt idx="239">
                  <c:v>0.8960541665723144</c:v>
                </c:pt>
                <c:pt idx="240">
                  <c:v>0.89797914798116751</c:v>
                </c:pt>
                <c:pt idx="241">
                  <c:v>0.90106405408509893</c:v>
                </c:pt>
                <c:pt idx="242">
                  <c:v>0.88608375004440842</c:v>
                </c:pt>
                <c:pt idx="243">
                  <c:v>0.86478555830286641</c:v>
                </c:pt>
                <c:pt idx="244">
                  <c:v>0.8774953714510636</c:v>
                </c:pt>
                <c:pt idx="245">
                  <c:v>0.82749521331854436</c:v>
                </c:pt>
                <c:pt idx="246">
                  <c:v>0.86789514365562914</c:v>
                </c:pt>
                <c:pt idx="247">
                  <c:v>0.88810744844858724</c:v>
                </c:pt>
                <c:pt idx="248">
                  <c:v>0.8920561282616194</c:v>
                </c:pt>
                <c:pt idx="249">
                  <c:v>0.91510654667019453</c:v>
                </c:pt>
                <c:pt idx="250">
                  <c:v>0.9274708503347513</c:v>
                </c:pt>
                <c:pt idx="251">
                  <c:v>0.8994599029110546</c:v>
                </c:pt>
                <c:pt idx="252">
                  <c:v>0.89156254328499041</c:v>
                </c:pt>
                <c:pt idx="253">
                  <c:v>0.89156254328499041</c:v>
                </c:pt>
                <c:pt idx="254">
                  <c:v>0.90819635699738821</c:v>
                </c:pt>
                <c:pt idx="255">
                  <c:v>0.91019537615273582</c:v>
                </c:pt>
                <c:pt idx="256">
                  <c:v>0.93568904019562438</c:v>
                </c:pt>
                <c:pt idx="257">
                  <c:v>0.94797930611368675</c:v>
                </c:pt>
                <c:pt idx="258">
                  <c:v>0.91061492338287031</c:v>
                </c:pt>
                <c:pt idx="259">
                  <c:v>0.87845786215548993</c:v>
                </c:pt>
                <c:pt idx="260">
                  <c:v>0.84788027285332268</c:v>
                </c:pt>
                <c:pt idx="261">
                  <c:v>0.91560013164682341</c:v>
                </c:pt>
                <c:pt idx="262">
                  <c:v>0.91216971605925179</c:v>
                </c:pt>
                <c:pt idx="263">
                  <c:v>0.93485490350721878</c:v>
                </c:pt>
                <c:pt idx="264">
                  <c:v>0.98418248371201722</c:v>
                </c:pt>
                <c:pt idx="265">
                  <c:v>0.98712518060997778</c:v>
                </c:pt>
                <c:pt idx="266">
                  <c:v>0.98844690040312977</c:v>
                </c:pt>
                <c:pt idx="267">
                  <c:v>1.0290960185698748</c:v>
                </c:pt>
                <c:pt idx="268">
                  <c:v>1.0244076540205813</c:v>
                </c:pt>
                <c:pt idx="269">
                  <c:v>1.0111405798704536</c:v>
                </c:pt>
                <c:pt idx="270">
                  <c:v>1.0407670537244984</c:v>
                </c:pt>
                <c:pt idx="271">
                  <c:v>1.0037588995162472</c:v>
                </c:pt>
                <c:pt idx="272">
                  <c:v>1.0431611122177544</c:v>
                </c:pt>
                <c:pt idx="273">
                  <c:v>0.97897041886732428</c:v>
                </c:pt>
                <c:pt idx="274">
                  <c:v>0.94936888312258405</c:v>
                </c:pt>
                <c:pt idx="275">
                  <c:v>0.99288588385937548</c:v>
                </c:pt>
                <c:pt idx="276">
                  <c:v>0.94764815358055632</c:v>
                </c:pt>
                <c:pt idx="277">
                  <c:v>0.96243645239827391</c:v>
                </c:pt>
                <c:pt idx="278">
                  <c:v>0.98515506997490265</c:v>
                </c:pt>
                <c:pt idx="279">
                  <c:v>0.94747358681542304</c:v>
                </c:pt>
                <c:pt idx="280">
                  <c:v>0.87794613807377597</c:v>
                </c:pt>
                <c:pt idx="281">
                  <c:v>0.81869319036568655</c:v>
                </c:pt>
                <c:pt idx="282">
                  <c:v>0.76851771444452643</c:v>
                </c:pt>
                <c:pt idx="283">
                  <c:v>0.71584842759289136</c:v>
                </c:pt>
                <c:pt idx="284">
                  <c:v>0.77786950543380839</c:v>
                </c:pt>
                <c:pt idx="285">
                  <c:v>0.73430262847840744</c:v>
                </c:pt>
                <c:pt idx="286">
                  <c:v>0.81612456510729692</c:v>
                </c:pt>
                <c:pt idx="287">
                  <c:v>0.79816912640787596</c:v>
                </c:pt>
                <c:pt idx="288">
                  <c:v>0.80624907382261546</c:v>
                </c:pt>
                <c:pt idx="289">
                  <c:v>0.79886166052176877</c:v>
                </c:pt>
                <c:pt idx="290">
                  <c:v>0.79224686648175524</c:v>
                </c:pt>
                <c:pt idx="291">
                  <c:v>0.75503865000667991</c:v>
                </c:pt>
                <c:pt idx="292">
                  <c:v>0.75839615910274749</c:v>
                </c:pt>
                <c:pt idx="293">
                  <c:v>0.77616089006626809</c:v>
                </c:pt>
                <c:pt idx="294">
                  <c:v>0.76420915992578942</c:v>
                </c:pt>
                <c:pt idx="295">
                  <c:v>0.71053912646477169</c:v>
                </c:pt>
                <c:pt idx="296">
                  <c:v>0.6828020923651702</c:v>
                </c:pt>
                <c:pt idx="297">
                  <c:v>0.66591432273271167</c:v>
                </c:pt>
                <c:pt idx="298">
                  <c:v>0.64769858308464445</c:v>
                </c:pt>
                <c:pt idx="299">
                  <c:v>0.65068025161025667</c:v>
                </c:pt>
                <c:pt idx="300">
                  <c:v>0.67007362504575041</c:v>
                </c:pt>
                <c:pt idx="301">
                  <c:v>0.72745195213526048</c:v>
                </c:pt>
                <c:pt idx="302">
                  <c:v>0.72745195213526048</c:v>
                </c:pt>
                <c:pt idx="303">
                  <c:v>0.7429115275999888</c:v>
                </c:pt>
                <c:pt idx="304">
                  <c:v>0.71357090706644455</c:v>
                </c:pt>
                <c:pt idx="305">
                  <c:v>0.74353792855074763</c:v>
                </c:pt>
                <c:pt idx="306">
                  <c:v>0.74656970915242038</c:v>
                </c:pt>
                <c:pt idx="307">
                  <c:v>0.76222973292139151</c:v>
                </c:pt>
                <c:pt idx="308">
                  <c:v>0.79126968099857153</c:v>
                </c:pt>
                <c:pt idx="309">
                  <c:v>0.77423157513793095</c:v>
                </c:pt>
                <c:pt idx="310">
                  <c:v>0.80076591941207542</c:v>
                </c:pt>
                <c:pt idx="311">
                  <c:v>0.79139496118872343</c:v>
                </c:pt>
                <c:pt idx="312">
                  <c:v>0.75398629640940507</c:v>
                </c:pt>
                <c:pt idx="313">
                  <c:v>0.74574285989741873</c:v>
                </c:pt>
                <c:pt idx="314">
                  <c:v>0.75175630902470347</c:v>
                </c:pt>
                <c:pt idx="315">
                  <c:v>0.76844363035291929</c:v>
                </c:pt>
                <c:pt idx="316">
                  <c:v>0.76716577241337125</c:v>
                </c:pt>
                <c:pt idx="317">
                  <c:v>0.80487510964905373</c:v>
                </c:pt>
                <c:pt idx="318">
                  <c:v>0.79680706540327972</c:v>
                </c:pt>
                <c:pt idx="319">
                  <c:v>0.79277304328039266</c:v>
                </c:pt>
                <c:pt idx="320">
                  <c:v>0.75273349450788751</c:v>
                </c:pt>
                <c:pt idx="321">
                  <c:v>0.75639976687262134</c:v>
                </c:pt>
                <c:pt idx="322">
                  <c:v>0.65254927780156025</c:v>
                </c:pt>
                <c:pt idx="323">
                  <c:v>0.66195786765373754</c:v>
                </c:pt>
                <c:pt idx="324">
                  <c:v>0.64687869526903163</c:v>
                </c:pt>
                <c:pt idx="325">
                  <c:v>0.66193243903251564</c:v>
                </c:pt>
                <c:pt idx="326">
                  <c:v>0.64041982547861787</c:v>
                </c:pt>
                <c:pt idx="327">
                  <c:v>0.62234007578970407</c:v>
                </c:pt>
                <c:pt idx="328">
                  <c:v>0.66417015770006038</c:v>
                </c:pt>
                <c:pt idx="329">
                  <c:v>0.67177331544546881</c:v>
                </c:pt>
                <c:pt idx="330">
                  <c:v>0.68662363023917583</c:v>
                </c:pt>
                <c:pt idx="331">
                  <c:v>0.69435393109069465</c:v>
                </c:pt>
                <c:pt idx="332">
                  <c:v>0.71767197675136141</c:v>
                </c:pt>
                <c:pt idx="333">
                  <c:v>0.71652768879636675</c:v>
                </c:pt>
                <c:pt idx="334">
                  <c:v>0.72921657078619517</c:v>
                </c:pt>
                <c:pt idx="335">
                  <c:v>0.73376829398495136</c:v>
                </c:pt>
                <c:pt idx="336">
                  <c:v>0.7505511839915382</c:v>
                </c:pt>
                <c:pt idx="337">
                  <c:v>0.74160030932135845</c:v>
                </c:pt>
                <c:pt idx="338">
                  <c:v>0.7423631679580216</c:v>
                </c:pt>
                <c:pt idx="339">
                  <c:v>0.7423631679580216</c:v>
                </c:pt>
                <c:pt idx="340">
                  <c:v>0.73728875758947365</c:v>
                </c:pt>
                <c:pt idx="341">
                  <c:v>0.73184319280297028</c:v>
                </c:pt>
                <c:pt idx="342">
                  <c:v>0.68998359432727885</c:v>
                </c:pt>
                <c:pt idx="343">
                  <c:v>0.80225383656116978</c:v>
                </c:pt>
                <c:pt idx="344">
                  <c:v>0.8002944511006056</c:v>
                </c:pt>
                <c:pt idx="345">
                  <c:v>0.81515524472358658</c:v>
                </c:pt>
                <c:pt idx="346">
                  <c:v>0.84050002288880765</c:v>
                </c:pt>
                <c:pt idx="347">
                  <c:v>0.83851519086382043</c:v>
                </c:pt>
                <c:pt idx="348">
                  <c:v>0.85016971736951452</c:v>
                </c:pt>
                <c:pt idx="349">
                  <c:v>0.87490377798858576</c:v>
                </c:pt>
                <c:pt idx="350">
                  <c:v>0.9132771971383381</c:v>
                </c:pt>
                <c:pt idx="351">
                  <c:v>0.94943676518329723</c:v>
                </c:pt>
                <c:pt idx="352">
                  <c:v>0.9771989669686949</c:v>
                </c:pt>
                <c:pt idx="353">
                  <c:v>0.96696944807068397</c:v>
                </c:pt>
                <c:pt idx="354">
                  <c:v>0.96936142512643775</c:v>
                </c:pt>
                <c:pt idx="355">
                  <c:v>0.98536731414844991</c:v>
                </c:pt>
                <c:pt idx="356">
                  <c:v>0.97366189451391005</c:v>
                </c:pt>
                <c:pt idx="357">
                  <c:v>0.96501006261011968</c:v>
                </c:pt>
                <c:pt idx="358">
                  <c:v>0.99045662703303239</c:v>
                </c:pt>
                <c:pt idx="359">
                  <c:v>1.0150042411546907</c:v>
                </c:pt>
                <c:pt idx="360">
                  <c:v>0.95630641177515263</c:v>
                </c:pt>
                <c:pt idx="361">
                  <c:v>0.9468100076529109</c:v>
                </c:pt>
                <c:pt idx="362">
                  <c:v>0.95760257835451146</c:v>
                </c:pt>
                <c:pt idx="363">
                  <c:v>0.95760257835451146</c:v>
                </c:pt>
                <c:pt idx="364">
                  <c:v>0.96701962533924135</c:v>
                </c:pt>
                <c:pt idx="365">
                  <c:v>0.94633386482784032</c:v>
                </c:pt>
                <c:pt idx="366">
                  <c:v>0.93062115160051018</c:v>
                </c:pt>
                <c:pt idx="367">
                  <c:v>0.93562065126375149</c:v>
                </c:pt>
                <c:pt idx="368">
                  <c:v>0.9276584851334041</c:v>
                </c:pt>
                <c:pt idx="369">
                  <c:v>0.92927208026281016</c:v>
                </c:pt>
                <c:pt idx="370">
                  <c:v>0.89713243957054367</c:v>
                </c:pt>
                <c:pt idx="371">
                  <c:v>0.88488498801456084</c:v>
                </c:pt>
                <c:pt idx="372">
                  <c:v>0.88007065500551351</c:v>
                </c:pt>
                <c:pt idx="373">
                  <c:v>0.89305877317827309</c:v>
                </c:pt>
                <c:pt idx="374">
                  <c:v>0.90557074852596187</c:v>
                </c:pt>
                <c:pt idx="375">
                  <c:v>0.92890174695442185</c:v>
                </c:pt>
                <c:pt idx="376">
                  <c:v>0.93681100832642805</c:v>
                </c:pt>
                <c:pt idx="377">
                  <c:v>0.95635931653349382</c:v>
                </c:pt>
                <c:pt idx="378">
                  <c:v>0.94744486475300516</c:v>
                </c:pt>
                <c:pt idx="379">
                  <c:v>0.95358181672058184</c:v>
                </c:pt>
                <c:pt idx="380">
                  <c:v>0.96231110184687652</c:v>
                </c:pt>
                <c:pt idx="381">
                  <c:v>0.95773484025036448</c:v>
                </c:pt>
                <c:pt idx="382">
                  <c:v>0.94942879319079931</c:v>
                </c:pt>
                <c:pt idx="383">
                  <c:v>0.9721695628967908</c:v>
                </c:pt>
                <c:pt idx="384">
                  <c:v>0.97265701525290493</c:v>
                </c:pt>
                <c:pt idx="385">
                  <c:v>0.98351637051967034</c:v>
                </c:pt>
                <c:pt idx="386">
                  <c:v>1.0201836199740355</c:v>
                </c:pt>
                <c:pt idx="387">
                  <c:v>1.0113282355046282</c:v>
                </c:pt>
                <c:pt idx="388">
                  <c:v>1.0300951512150234</c:v>
                </c:pt>
                <c:pt idx="389">
                  <c:v>0.98700977907182186</c:v>
                </c:pt>
                <c:pt idx="390">
                  <c:v>0.97742321606824334</c:v>
                </c:pt>
                <c:pt idx="391">
                  <c:v>1.0095409101988764</c:v>
                </c:pt>
                <c:pt idx="392">
                  <c:v>1.0230541727378188</c:v>
                </c:pt>
                <c:pt idx="393">
                  <c:v>0.99507982363415626</c:v>
                </c:pt>
                <c:pt idx="394">
                  <c:v>0.98844505545371353</c:v>
                </c:pt>
                <c:pt idx="395">
                  <c:v>0.99261548116713472</c:v>
                </c:pt>
                <c:pt idx="396">
                  <c:v>0.98817424858920566</c:v>
                </c:pt>
                <c:pt idx="397">
                  <c:v>0.99564851804962284</c:v>
                </c:pt>
                <c:pt idx="398">
                  <c:v>1.01758387407476</c:v>
                </c:pt>
                <c:pt idx="399">
                  <c:v>1.0403587313798717</c:v>
                </c:pt>
                <c:pt idx="400">
                  <c:v>1.0663020289997251</c:v>
                </c:pt>
                <c:pt idx="401">
                  <c:v>1.0527887664607827</c:v>
                </c:pt>
                <c:pt idx="402">
                  <c:v>1.0713390366795716</c:v>
                </c:pt>
                <c:pt idx="403">
                  <c:v>1.0728690954640412</c:v>
                </c:pt>
                <c:pt idx="404">
                  <c:v>1.061864893994148</c:v>
                </c:pt>
                <c:pt idx="405">
                  <c:v>1.0662009168366833</c:v>
                </c:pt>
                <c:pt idx="406">
                  <c:v>1.0884772341902087</c:v>
                </c:pt>
                <c:pt idx="407">
                  <c:v>1.3750883440817971</c:v>
                </c:pt>
                <c:pt idx="408">
                  <c:v>1.3750883440817971</c:v>
                </c:pt>
                <c:pt idx="409">
                  <c:v>1.3272294919573129</c:v>
                </c:pt>
                <c:pt idx="410">
                  <c:v>1.2784221348360241</c:v>
                </c:pt>
                <c:pt idx="411">
                  <c:v>1.2870670803783291</c:v>
                </c:pt>
                <c:pt idx="412">
                  <c:v>1.3246549783945574</c:v>
                </c:pt>
                <c:pt idx="413">
                  <c:v>1.314356924143536</c:v>
                </c:pt>
                <c:pt idx="414">
                  <c:v>1.3691263126733109</c:v>
                </c:pt>
                <c:pt idx="415">
                  <c:v>1.3644921882603513</c:v>
                </c:pt>
                <c:pt idx="416">
                  <c:v>1.3811587760613466</c:v>
                </c:pt>
                <c:pt idx="417">
                  <c:v>1.3739501380856316</c:v>
                </c:pt>
                <c:pt idx="418">
                  <c:v>1.3839500907662288</c:v>
                </c:pt>
                <c:pt idx="419">
                  <c:v>1.3931099390210846</c:v>
                </c:pt>
                <c:pt idx="420">
                  <c:v>1.3767956530760455</c:v>
                </c:pt>
                <c:pt idx="421">
                  <c:v>1.3090452961614303</c:v>
                </c:pt>
                <c:pt idx="422">
                  <c:v>1.2562813181963279</c:v>
                </c:pt>
                <c:pt idx="423">
                  <c:v>1.242514445671278</c:v>
                </c:pt>
                <c:pt idx="424">
                  <c:v>1.2777988315524096</c:v>
                </c:pt>
                <c:pt idx="425">
                  <c:v>1.2167964101864901</c:v>
                </c:pt>
                <c:pt idx="426">
                  <c:v>1.2308884844247301</c:v>
                </c:pt>
                <c:pt idx="427">
                  <c:v>1.2762541234147562</c:v>
                </c:pt>
                <c:pt idx="428">
                  <c:v>1.3388012529183291</c:v>
                </c:pt>
                <c:pt idx="429">
                  <c:v>1.3260099855328498</c:v>
                </c:pt>
                <c:pt idx="430">
                  <c:v>1.3328121213670772</c:v>
                </c:pt>
                <c:pt idx="431">
                  <c:v>1.3657387948275801</c:v>
                </c:pt>
                <c:pt idx="432">
                  <c:v>1.3767143526477477</c:v>
                </c:pt>
                <c:pt idx="433">
                  <c:v>1.3672022025369359</c:v>
                </c:pt>
                <c:pt idx="434">
                  <c:v>1.3805625729204982</c:v>
                </c:pt>
                <c:pt idx="435">
                  <c:v>1.3682591081048039</c:v>
                </c:pt>
                <c:pt idx="436">
                  <c:v>1.4061451076914568</c:v>
                </c:pt>
                <c:pt idx="437">
                  <c:v>1.3595599622769674</c:v>
                </c:pt>
                <c:pt idx="438">
                  <c:v>1.3494787091680724</c:v>
                </c:pt>
                <c:pt idx="439">
                  <c:v>1.367527404250126</c:v>
                </c:pt>
                <c:pt idx="440">
                  <c:v>1.4127033422407917</c:v>
                </c:pt>
                <c:pt idx="441">
                  <c:v>1.3613088224613603</c:v>
                </c:pt>
                <c:pt idx="442">
                  <c:v>1.4161961210008043</c:v>
                </c:pt>
                <c:pt idx="443">
                  <c:v>1.4239552015310195</c:v>
                </c:pt>
                <c:pt idx="444">
                  <c:v>1.461876341587141</c:v>
                </c:pt>
                <c:pt idx="445">
                  <c:v>1.5178837890763694</c:v>
                </c:pt>
                <c:pt idx="446">
                  <c:v>1.5608319390534753</c:v>
                </c:pt>
                <c:pt idx="447">
                  <c:v>1.5757763652859673</c:v>
                </c:pt>
                <c:pt idx="448">
                  <c:v>1.5161899052986465</c:v>
                </c:pt>
                <c:pt idx="449">
                  <c:v>1.4990325018726776</c:v>
                </c:pt>
                <c:pt idx="450">
                  <c:v>1.5486195834302143</c:v>
                </c:pt>
                <c:pt idx="451">
                  <c:v>1.535123154620615</c:v>
                </c:pt>
                <c:pt idx="452">
                  <c:v>1.5983432685182122</c:v>
                </c:pt>
                <c:pt idx="453">
                  <c:v>1.5572802472614755</c:v>
                </c:pt>
                <c:pt idx="454">
                  <c:v>1.5512423712150758</c:v>
                </c:pt>
                <c:pt idx="455">
                  <c:v>1.5566518710213526</c:v>
                </c:pt>
                <c:pt idx="456">
                  <c:v>1.4093932651838199</c:v>
                </c:pt>
                <c:pt idx="457">
                  <c:v>1.3629207441208067</c:v>
                </c:pt>
                <c:pt idx="458">
                  <c:v>1.3856515715896054</c:v>
                </c:pt>
                <c:pt idx="459">
                  <c:v>1.3856515715896054</c:v>
                </c:pt>
                <c:pt idx="460">
                  <c:v>1.4168791386531119</c:v>
                </c:pt>
                <c:pt idx="461">
                  <c:v>1.4370144990431419</c:v>
                </c:pt>
                <c:pt idx="462">
                  <c:v>1.3608443704577913</c:v>
                </c:pt>
                <c:pt idx="463">
                  <c:v>1.2482557406513957</c:v>
                </c:pt>
                <c:pt idx="464">
                  <c:v>1.315737884699393</c:v>
                </c:pt>
                <c:pt idx="465">
                  <c:v>1.2305397626802137</c:v>
                </c:pt>
                <c:pt idx="466">
                  <c:v>1.1736270253001664</c:v>
                </c:pt>
                <c:pt idx="467">
                  <c:v>1.3662883956433809</c:v>
                </c:pt>
                <c:pt idx="468">
                  <c:v>1.4530789533675166</c:v>
                </c:pt>
                <c:pt idx="469">
                  <c:v>1.4030821249966678</c:v>
                </c:pt>
                <c:pt idx="470">
                  <c:v>1.3879108621504017</c:v>
                </c:pt>
                <c:pt idx="471">
                  <c:v>1.3529212829734274</c:v>
                </c:pt>
                <c:pt idx="472">
                  <c:v>1.3081455558703932</c:v>
                </c:pt>
                <c:pt idx="473">
                  <c:v>1.3897696835441786</c:v>
                </c:pt>
                <c:pt idx="474">
                  <c:v>1.3148974512272</c:v>
                </c:pt>
                <c:pt idx="475">
                  <c:v>1.3609032807231747</c:v>
                </c:pt>
                <c:pt idx="476">
                  <c:v>1.3547527687584722</c:v>
                </c:pt>
                <c:pt idx="477">
                  <c:v>1.471913187783872</c:v>
                </c:pt>
                <c:pt idx="478">
                  <c:v>1.5076134927878784</c:v>
                </c:pt>
                <c:pt idx="479">
                  <c:v>1.5064927328298663</c:v>
                </c:pt>
                <c:pt idx="480">
                  <c:v>1.5064927328298663</c:v>
                </c:pt>
                <c:pt idx="481">
                  <c:v>1.5285799046853312</c:v>
                </c:pt>
                <c:pt idx="482">
                  <c:v>1.4818086781448601</c:v>
                </c:pt>
                <c:pt idx="483">
                  <c:v>1.4706830853909316</c:v>
                </c:pt>
                <c:pt idx="484">
                  <c:v>1.4552111308486133</c:v>
                </c:pt>
                <c:pt idx="485">
                  <c:v>1.4470104482290098</c:v>
                </c:pt>
                <c:pt idx="486">
                  <c:v>1.2721172235616025</c:v>
                </c:pt>
                <c:pt idx="487">
                  <c:v>1.1720688956024417</c:v>
                </c:pt>
                <c:pt idx="488">
                  <c:v>1.1745564359970548</c:v>
                </c:pt>
                <c:pt idx="489">
                  <c:v>1.1744197579533948</c:v>
                </c:pt>
                <c:pt idx="490">
                  <c:v>1.1890989798424847</c:v>
                </c:pt>
                <c:pt idx="491">
                  <c:v>1.2131269799179225</c:v>
                </c:pt>
                <c:pt idx="492">
                  <c:v>1.1822377420507499</c:v>
                </c:pt>
                <c:pt idx="493">
                  <c:v>1.0683575960731915</c:v>
                </c:pt>
                <c:pt idx="494">
                  <c:v>1.0849229749647902</c:v>
                </c:pt>
                <c:pt idx="495">
                  <c:v>1.0849229749647902</c:v>
                </c:pt>
                <c:pt idx="496">
                  <c:v>1.0586261193645954</c:v>
                </c:pt>
                <c:pt idx="497">
                  <c:v>1.0513001762244165</c:v>
                </c:pt>
                <c:pt idx="498">
                  <c:v>1.0636832069800175</c:v>
                </c:pt>
                <c:pt idx="499">
                  <c:v>1.0266434571481424</c:v>
                </c:pt>
                <c:pt idx="500">
                  <c:v>1.0563845994485708</c:v>
                </c:pt>
                <c:pt idx="501">
                  <c:v>0.99906182793754328</c:v>
                </c:pt>
                <c:pt idx="502">
                  <c:v>0.96103799619131569</c:v>
                </c:pt>
                <c:pt idx="503">
                  <c:v>0.96087398253892364</c:v>
                </c:pt>
                <c:pt idx="504">
                  <c:v>1.0197548837476758</c:v>
                </c:pt>
                <c:pt idx="505">
                  <c:v>1.1263726204157012</c:v>
                </c:pt>
                <c:pt idx="506">
                  <c:v>1.1584102890443508</c:v>
                </c:pt>
                <c:pt idx="507">
                  <c:v>1.2198342330358305</c:v>
                </c:pt>
                <c:pt idx="508">
                  <c:v>1.2444977141439204</c:v>
                </c:pt>
                <c:pt idx="509">
                  <c:v>1.1797871472500188</c:v>
                </c:pt>
                <c:pt idx="510">
                  <c:v>1.1874099028892491</c:v>
                </c:pt>
                <c:pt idx="511">
                  <c:v>1.2313236038543807</c:v>
                </c:pt>
                <c:pt idx="512">
                  <c:v>1.2045334843976652</c:v>
                </c:pt>
                <c:pt idx="513">
                  <c:v>1.1311506520301462</c:v>
                </c:pt>
                <c:pt idx="514">
                  <c:v>1.0776256504764199</c:v>
                </c:pt>
                <c:pt idx="515">
                  <c:v>1.0776256504764199</c:v>
                </c:pt>
                <c:pt idx="516">
                  <c:v>1.0562211735908997</c:v>
                </c:pt>
                <c:pt idx="517">
                  <c:v>0.97993837983889098</c:v>
                </c:pt>
                <c:pt idx="518">
                  <c:v>1.036694766935335</c:v>
                </c:pt>
                <c:pt idx="519">
                  <c:v>1.0382966503667674</c:v>
                </c:pt>
                <c:pt idx="520">
                  <c:v>1.0550059516773993</c:v>
                </c:pt>
                <c:pt idx="521">
                  <c:v>1.0545088154400581</c:v>
                </c:pt>
                <c:pt idx="522">
                  <c:v>1.0541221539221262</c:v>
                </c:pt>
                <c:pt idx="523">
                  <c:v>0.90376606080629185</c:v>
                </c:pt>
                <c:pt idx="524">
                  <c:v>0.84543540895826785</c:v>
                </c:pt>
                <c:pt idx="525">
                  <c:v>0.77326779850424954</c:v>
                </c:pt>
                <c:pt idx="526">
                  <c:v>0.77812868615825148</c:v>
                </c:pt>
                <c:pt idx="527">
                  <c:v>0.92271247518495847</c:v>
                </c:pt>
                <c:pt idx="528">
                  <c:v>0.93491993167966803</c:v>
                </c:pt>
                <c:pt idx="529">
                  <c:v>0.87410359864493858</c:v>
                </c:pt>
                <c:pt idx="530">
                  <c:v>0.80138361459387464</c:v>
                </c:pt>
                <c:pt idx="531">
                  <c:v>0.82524460191432469</c:v>
                </c:pt>
                <c:pt idx="532">
                  <c:v>0.95130288684430742</c:v>
                </c:pt>
                <c:pt idx="533">
                  <c:v>1.0304628414502512</c:v>
                </c:pt>
                <c:pt idx="534">
                  <c:v>1.10148821840707</c:v>
                </c:pt>
                <c:pt idx="535">
                  <c:v>1.0804600584977662</c:v>
                </c:pt>
                <c:pt idx="536">
                  <c:v>1.1227100587365906</c:v>
                </c:pt>
                <c:pt idx="537">
                  <c:v>1.1201645446423067</c:v>
                </c:pt>
                <c:pt idx="538">
                  <c:v>1.1630232547732422</c:v>
                </c:pt>
                <c:pt idx="539">
                  <c:v>1.1234571117860002</c:v>
                </c:pt>
                <c:pt idx="540">
                  <c:v>1.1646280353978997</c:v>
                </c:pt>
                <c:pt idx="541">
                  <c:v>1.2060479766929355</c:v>
                </c:pt>
                <c:pt idx="542">
                  <c:v>1.1903598626553369</c:v>
                </c:pt>
                <c:pt idx="543">
                  <c:v>1.2273528229168351</c:v>
                </c:pt>
                <c:pt idx="544">
                  <c:v>1.2574009566819717</c:v>
                </c:pt>
                <c:pt idx="545">
                  <c:v>1.1673118926494817</c:v>
                </c:pt>
                <c:pt idx="546">
                  <c:v>1.1855731894128243</c:v>
                </c:pt>
                <c:pt idx="547">
                  <c:v>1.1534499082882173</c:v>
                </c:pt>
                <c:pt idx="548">
                  <c:v>1.1346905761586019</c:v>
                </c:pt>
                <c:pt idx="549">
                  <c:v>1.1456750228480668</c:v>
                </c:pt>
                <c:pt idx="550">
                  <c:v>1.204249515648061</c:v>
                </c:pt>
                <c:pt idx="551">
                  <c:v>1.1523985002927521</c:v>
                </c:pt>
                <c:pt idx="552">
                  <c:v>1.1523985002927521</c:v>
                </c:pt>
                <c:pt idx="553">
                  <c:v>1.1099271510022508</c:v>
                </c:pt>
                <c:pt idx="554">
                  <c:v>1.1510150687197716</c:v>
                </c:pt>
                <c:pt idx="555">
                  <c:v>1.1261409690375823</c:v>
                </c:pt>
                <c:pt idx="556">
                  <c:v>1.0455145769642791</c:v>
                </c:pt>
                <c:pt idx="557">
                  <c:v>1.0266169016773656</c:v>
                </c:pt>
                <c:pt idx="558">
                  <c:v>1.0562223373391482</c:v>
                </c:pt>
                <c:pt idx="559">
                  <c:v>0.97601097473773901</c:v>
                </c:pt>
                <c:pt idx="560">
                  <c:v>0.99601539528303695</c:v>
                </c:pt>
                <c:pt idx="561">
                  <c:v>1.0449058670721676</c:v>
                </c:pt>
                <c:pt idx="562">
                  <c:v>0.98204273639593398</c:v>
                </c:pt>
                <c:pt idx="563">
                  <c:v>0.88053550690040361</c:v>
                </c:pt>
                <c:pt idx="564">
                  <c:v>0.83532838531674725</c:v>
                </c:pt>
                <c:pt idx="565">
                  <c:v>0.70436151458826324</c:v>
                </c:pt>
                <c:pt idx="566">
                  <c:v>0.69814623215105276</c:v>
                </c:pt>
                <c:pt idx="567">
                  <c:v>0.67518034547723471</c:v>
                </c:pt>
                <c:pt idx="568">
                  <c:v>0.6846008184089708</c:v>
                </c:pt>
                <c:pt idx="569">
                  <c:v>0.79720055404273871</c:v>
                </c:pt>
                <c:pt idx="570">
                  <c:v>0.70235478662647333</c:v>
                </c:pt>
                <c:pt idx="571">
                  <c:v>0.68919956998807264</c:v>
                </c:pt>
                <c:pt idx="572">
                  <c:v>0.64095448524003995</c:v>
                </c:pt>
                <c:pt idx="573">
                  <c:v>0.68376468175822502</c:v>
                </c:pt>
                <c:pt idx="574">
                  <c:v>0.69148501016677777</c:v>
                </c:pt>
                <c:pt idx="575">
                  <c:v>0.6801971653817096</c:v>
                </c:pt>
                <c:pt idx="576">
                  <c:v>0.62322838824422888</c:v>
                </c:pt>
                <c:pt idx="577">
                  <c:v>0.64323992541874497</c:v>
                </c:pt>
                <c:pt idx="578">
                  <c:v>0.64956669274272172</c:v>
                </c:pt>
                <c:pt idx="579">
                  <c:v>0.69694776961831706</c:v>
                </c:pt>
                <c:pt idx="580">
                  <c:v>0.69694776961831706</c:v>
                </c:pt>
                <c:pt idx="581">
                  <c:v>0.66148968850579337</c:v>
                </c:pt>
                <c:pt idx="582">
                  <c:v>0.67448796785825793</c:v>
                </c:pt>
                <c:pt idx="583">
                  <c:v>0.79970100651322351</c:v>
                </c:pt>
                <c:pt idx="584">
                  <c:v>0.76592221617881417</c:v>
                </c:pt>
                <c:pt idx="585">
                  <c:v>0.8244981531748995</c:v>
                </c:pt>
                <c:pt idx="586">
                  <c:v>0.83403766291426218</c:v>
                </c:pt>
                <c:pt idx="587">
                  <c:v>0.80996574213920414</c:v>
                </c:pt>
                <c:pt idx="588">
                  <c:v>0.74952095381991013</c:v>
                </c:pt>
                <c:pt idx="589">
                  <c:v>0.6666499496221151</c:v>
                </c:pt>
                <c:pt idx="590">
                  <c:v>0.67222861028840897</c:v>
                </c:pt>
                <c:pt idx="591">
                  <c:v>0.70938249032592604</c:v>
                </c:pt>
                <c:pt idx="592">
                  <c:v>0.65552052159285878</c:v>
                </c:pt>
                <c:pt idx="593">
                  <c:v>0.69663525070344456</c:v>
                </c:pt>
                <c:pt idx="594">
                  <c:v>0.69663525070344456</c:v>
                </c:pt>
                <c:pt idx="595">
                  <c:v>0.75186399129975368</c:v>
                </c:pt>
                <c:pt idx="596">
                  <c:v>0.74539274492685292</c:v>
                </c:pt>
                <c:pt idx="597">
                  <c:v>0.81060728811582783</c:v>
                </c:pt>
                <c:pt idx="598">
                  <c:v>0.84541813067350147</c:v>
                </c:pt>
                <c:pt idx="599">
                  <c:v>0.83370294327428451</c:v>
                </c:pt>
                <c:pt idx="600">
                  <c:v>0.7764100982314468</c:v>
                </c:pt>
                <c:pt idx="601">
                  <c:v>0.77200295630507432</c:v>
                </c:pt>
                <c:pt idx="602">
                  <c:v>0.72383122145162704</c:v>
                </c:pt>
                <c:pt idx="603">
                  <c:v>0.7503577529198544</c:v>
                </c:pt>
                <c:pt idx="604">
                  <c:v>0.7503577529198544</c:v>
                </c:pt>
                <c:pt idx="605">
                  <c:v>0.8491558333199184</c:v>
                </c:pt>
                <c:pt idx="606">
                  <c:v>0.84879322037660931</c:v>
                </c:pt>
                <c:pt idx="607">
                  <c:v>0.87997793350119213</c:v>
                </c:pt>
                <c:pt idx="608">
                  <c:v>0.87629601746143815</c:v>
                </c:pt>
                <c:pt idx="609">
                  <c:v>0.86709122736205313</c:v>
                </c:pt>
                <c:pt idx="610">
                  <c:v>0.81236456622571052</c:v>
                </c:pt>
                <c:pt idx="611">
                  <c:v>0.82357767416496108</c:v>
                </c:pt>
                <c:pt idx="612">
                  <c:v>0.77797212321800902</c:v>
                </c:pt>
                <c:pt idx="613">
                  <c:v>0.77395548753827736</c:v>
                </c:pt>
                <c:pt idx="614">
                  <c:v>0.78427600977092105</c:v>
                </c:pt>
                <c:pt idx="615">
                  <c:v>0.79306240032033382</c:v>
                </c:pt>
                <c:pt idx="616">
                  <c:v>0.85791433056599986</c:v>
                </c:pt>
                <c:pt idx="617">
                  <c:v>0.88681179281740186</c:v>
                </c:pt>
                <c:pt idx="618">
                  <c:v>0.84128992178044404</c:v>
                </c:pt>
                <c:pt idx="619">
                  <c:v>0.80731587832271445</c:v>
                </c:pt>
                <c:pt idx="620">
                  <c:v>0.74391439985028507</c:v>
                </c:pt>
                <c:pt idx="621">
                  <c:v>0.80868265018595664</c:v>
                </c:pt>
                <c:pt idx="622">
                  <c:v>0.82845900224796831</c:v>
                </c:pt>
                <c:pt idx="623">
                  <c:v>0.87158204919841975</c:v>
                </c:pt>
                <c:pt idx="624">
                  <c:v>0.89450608759982142</c:v>
                </c:pt>
                <c:pt idx="625">
                  <c:v>0.91076369777002142</c:v>
                </c:pt>
                <c:pt idx="626">
                  <c:v>0.95438922263849901</c:v>
                </c:pt>
                <c:pt idx="627">
                  <c:v>0.95880521709649436</c:v>
                </c:pt>
                <c:pt idx="628">
                  <c:v>1.0036964728605757</c:v>
                </c:pt>
                <c:pt idx="629">
                  <c:v>1.0230199645334603</c:v>
                </c:pt>
                <c:pt idx="630">
                  <c:v>1.0074655381941515</c:v>
                </c:pt>
                <c:pt idx="631">
                  <c:v>1.0697113709046226</c:v>
                </c:pt>
                <c:pt idx="632">
                  <c:v>1.0372242779174585</c:v>
                </c:pt>
                <c:pt idx="633">
                  <c:v>1.0663079611631103</c:v>
                </c:pt>
                <c:pt idx="634">
                  <c:v>1.0573634628341768</c:v>
                </c:pt>
                <c:pt idx="635">
                  <c:v>1.0531443598488308</c:v>
                </c:pt>
                <c:pt idx="636">
                  <c:v>1.0173101118266255</c:v>
                </c:pt>
                <c:pt idx="637">
                  <c:v>0.99438631893957885</c:v>
                </c:pt>
                <c:pt idx="638">
                  <c:v>0.94808869551371544</c:v>
                </c:pt>
                <c:pt idx="639">
                  <c:v>0.92752760029846271</c:v>
                </c:pt>
                <c:pt idx="640">
                  <c:v>0.91768302666598878</c:v>
                </c:pt>
                <c:pt idx="641">
                  <c:v>0.9523921805587684</c:v>
                </c:pt>
                <c:pt idx="642">
                  <c:v>1.0231043465931673</c:v>
                </c:pt>
                <c:pt idx="643">
                  <c:v>0.99449882835252135</c:v>
                </c:pt>
                <c:pt idx="644">
                  <c:v>0.93402501889589551</c:v>
                </c:pt>
                <c:pt idx="645">
                  <c:v>0.9305061637772738</c:v>
                </c:pt>
                <c:pt idx="646">
                  <c:v>0.90839144907211711</c:v>
                </c:pt>
                <c:pt idx="647">
                  <c:v>0.67838153467688223</c:v>
                </c:pt>
                <c:pt idx="648">
                  <c:v>0.68896058395059567</c:v>
                </c:pt>
                <c:pt idx="649">
                  <c:v>0.68896058395059567</c:v>
                </c:pt>
                <c:pt idx="650">
                  <c:v>0.66963131041059243</c:v>
                </c:pt>
                <c:pt idx="651">
                  <c:v>0.69413756551007255</c:v>
                </c:pt>
                <c:pt idx="652">
                  <c:v>0.69638842705767112</c:v>
                </c:pt>
                <c:pt idx="653">
                  <c:v>0.75583930768361995</c:v>
                </c:pt>
                <c:pt idx="654">
                  <c:v>0.70879630133880855</c:v>
                </c:pt>
                <c:pt idx="655">
                  <c:v>0.69557248974666663</c:v>
                </c:pt>
                <c:pt idx="656">
                  <c:v>0.6570264857440401</c:v>
                </c:pt>
                <c:pt idx="657">
                  <c:v>0.62061880021163229</c:v>
                </c:pt>
                <c:pt idx="658">
                  <c:v>0.62275711868185091</c:v>
                </c:pt>
                <c:pt idx="659">
                  <c:v>0.61307841402717678</c:v>
                </c:pt>
                <c:pt idx="660">
                  <c:v>0.58933182470001133</c:v>
                </c:pt>
                <c:pt idx="661">
                  <c:v>0.55765094841756058</c:v>
                </c:pt>
                <c:pt idx="662">
                  <c:v>0.54788783645485151</c:v>
                </c:pt>
                <c:pt idx="663">
                  <c:v>0.53370740870498012</c:v>
                </c:pt>
                <c:pt idx="664">
                  <c:v>0.54707189914384691</c:v>
                </c:pt>
                <c:pt idx="665">
                  <c:v>0.56640117268385026</c:v>
                </c:pt>
                <c:pt idx="666">
                  <c:v>0.54814105837895633</c:v>
                </c:pt>
                <c:pt idx="667">
                  <c:v>0.55866383611397996</c:v>
                </c:pt>
                <c:pt idx="668">
                  <c:v>0.51198659477065334</c:v>
                </c:pt>
                <c:pt idx="669">
                  <c:v>0.50658452705641677</c:v>
                </c:pt>
                <c:pt idx="670">
                  <c:v>0.51150828669178872</c:v>
                </c:pt>
                <c:pt idx="671">
                  <c:v>0.50858216667991041</c:v>
                </c:pt>
                <c:pt idx="672">
                  <c:v>0.48416031888846539</c:v>
                </c:pt>
                <c:pt idx="673">
                  <c:v>0.51305575400576275</c:v>
                </c:pt>
                <c:pt idx="674">
                  <c:v>0.5344952102466396</c:v>
                </c:pt>
                <c:pt idx="675">
                  <c:v>0.51986461018724861</c:v>
                </c:pt>
                <c:pt idx="676">
                  <c:v>0.53739319448917289</c:v>
                </c:pt>
                <c:pt idx="677">
                  <c:v>0.53148468292672657</c:v>
                </c:pt>
                <c:pt idx="678">
                  <c:v>0.51181778015458346</c:v>
                </c:pt>
                <c:pt idx="679">
                  <c:v>0.56465675498446133</c:v>
                </c:pt>
                <c:pt idx="680">
                  <c:v>0.53753387333589786</c:v>
                </c:pt>
                <c:pt idx="681">
                  <c:v>0.53567691255912886</c:v>
                </c:pt>
                <c:pt idx="682">
                  <c:v>0.52498532020803546</c:v>
                </c:pt>
                <c:pt idx="683">
                  <c:v>0.51908075085448202</c:v>
                </c:pt>
                <c:pt idx="684">
                  <c:v>0.51459980463610211</c:v>
                </c:pt>
                <c:pt idx="685">
                  <c:v>0.46289876061011065</c:v>
                </c:pt>
                <c:pt idx="686">
                  <c:v>0.44588250914790828</c:v>
                </c:pt>
                <c:pt idx="687">
                  <c:v>0.41230377292916243</c:v>
                </c:pt>
                <c:pt idx="688">
                  <c:v>0.40226418456646301</c:v>
                </c:pt>
                <c:pt idx="689">
                  <c:v>0.40841839551195958</c:v>
                </c:pt>
                <c:pt idx="690">
                  <c:v>0.38953035638891498</c:v>
                </c:pt>
                <c:pt idx="691">
                  <c:v>0.4566027475690958</c:v>
                </c:pt>
                <c:pt idx="692">
                  <c:v>0.4989732137099796</c:v>
                </c:pt>
                <c:pt idx="693">
                  <c:v>0.48519005002559568</c:v>
                </c:pt>
                <c:pt idx="694">
                  <c:v>0.51644323187784069</c:v>
                </c:pt>
                <c:pt idx="695">
                  <c:v>0.49542816132202072</c:v>
                </c:pt>
                <c:pt idx="696">
                  <c:v>0.46451530449901984</c:v>
                </c:pt>
                <c:pt idx="697">
                  <c:v>0.4534263806294847</c:v>
                </c:pt>
                <c:pt idx="698">
                  <c:v>0.41695488166216432</c:v>
                </c:pt>
                <c:pt idx="699">
                  <c:v>0.41633095244188362</c:v>
                </c:pt>
                <c:pt idx="700">
                  <c:v>0.4275900388260408</c:v>
                </c:pt>
                <c:pt idx="701">
                  <c:v>0.4275900388260408</c:v>
                </c:pt>
                <c:pt idx="702">
                  <c:v>0.41902519225673229</c:v>
                </c:pt>
                <c:pt idx="703">
                  <c:v>0.40697201413767237</c:v>
                </c:pt>
                <c:pt idx="704">
                  <c:v>0.40356876384523183</c:v>
                </c:pt>
                <c:pt idx="705">
                  <c:v>0.43303523929394561</c:v>
                </c:pt>
                <c:pt idx="706">
                  <c:v>0.45926862696484078</c:v>
                </c:pt>
                <c:pt idx="707">
                  <c:v>0.4542488327834911</c:v>
                </c:pt>
                <c:pt idx="708">
                  <c:v>0.42195937450946652</c:v>
                </c:pt>
                <c:pt idx="709">
                  <c:v>0.41052516068971701</c:v>
                </c:pt>
                <c:pt idx="710">
                  <c:v>0.50588593649164793</c:v>
                </c:pt>
                <c:pt idx="711">
                  <c:v>0.5516511645096529</c:v>
                </c:pt>
                <c:pt idx="712">
                  <c:v>0.54404727045582435</c:v>
                </c:pt>
                <c:pt idx="713">
                  <c:v>0.57647731114062284</c:v>
                </c:pt>
                <c:pt idx="714">
                  <c:v>0.5846486599745877</c:v>
                </c:pt>
                <c:pt idx="715">
                  <c:v>0.59767174717871918</c:v>
                </c:pt>
                <c:pt idx="716">
                  <c:v>0.57798106630798429</c:v>
                </c:pt>
                <c:pt idx="717">
                  <c:v>0.57625032922856811</c:v>
                </c:pt>
                <c:pt idx="718">
                  <c:v>0.54861528143592286</c:v>
                </c:pt>
                <c:pt idx="719">
                  <c:v>0.56782362574354173</c:v>
                </c:pt>
                <c:pt idx="720">
                  <c:v>0.56853294421871237</c:v>
                </c:pt>
                <c:pt idx="721">
                  <c:v>0.55658802109683991</c:v>
                </c:pt>
                <c:pt idx="722">
                  <c:v>0.56027647716772688</c:v>
                </c:pt>
                <c:pt idx="723">
                  <c:v>0.56027647716772688</c:v>
                </c:pt>
                <c:pt idx="724">
                  <c:v>0.53581917614384589</c:v>
                </c:pt>
                <c:pt idx="725">
                  <c:v>0.53570568518781858</c:v>
                </c:pt>
                <c:pt idx="726">
                  <c:v>0.56419191515066847</c:v>
                </c:pt>
                <c:pt idx="727">
                  <c:v>0.55848899461029711</c:v>
                </c:pt>
                <c:pt idx="728">
                  <c:v>0.54120999655514213</c:v>
                </c:pt>
                <c:pt idx="729">
                  <c:v>0.53116604694672698</c:v>
                </c:pt>
                <c:pt idx="730">
                  <c:v>0.48852182021947249</c:v>
                </c:pt>
                <c:pt idx="731">
                  <c:v>0.48182585381386228</c:v>
                </c:pt>
                <c:pt idx="732">
                  <c:v>0.50523336349449099</c:v>
                </c:pt>
                <c:pt idx="733">
                  <c:v>0.51663920457523371</c:v>
                </c:pt>
                <c:pt idx="734">
                  <c:v>0.53573405792682527</c:v>
                </c:pt>
                <c:pt idx="735">
                  <c:v>0.54081277820904661</c:v>
                </c:pt>
                <c:pt idx="736">
                  <c:v>0.56044671360176779</c:v>
                </c:pt>
                <c:pt idx="737">
                  <c:v>0.56044671360176779</c:v>
                </c:pt>
                <c:pt idx="738">
                  <c:v>0.57551263801439068</c:v>
                </c:pt>
                <c:pt idx="739">
                  <c:v>0.56983809021302612</c:v>
                </c:pt>
                <c:pt idx="740">
                  <c:v>0.53712432213815964</c:v>
                </c:pt>
                <c:pt idx="741">
                  <c:v>0.56138301398899315</c:v>
                </c:pt>
                <c:pt idx="742">
                  <c:v>0.59699080144255545</c:v>
                </c:pt>
                <c:pt idx="743">
                  <c:v>0.61321830782600362</c:v>
                </c:pt>
                <c:pt idx="744">
                  <c:v>0.65318155686783641</c:v>
                </c:pt>
                <c:pt idx="745">
                  <c:v>0.70382266543159155</c:v>
                </c:pt>
                <c:pt idx="746">
                  <c:v>0.63546146291590622</c:v>
                </c:pt>
                <c:pt idx="747">
                  <c:v>0.62532751580930968</c:v>
                </c:pt>
                <c:pt idx="748">
                  <c:v>0.64244644340745871</c:v>
                </c:pt>
                <c:pt idx="749">
                  <c:v>0.63732221591570515</c:v>
                </c:pt>
                <c:pt idx="750">
                  <c:v>0.63208348054704078</c:v>
                </c:pt>
                <c:pt idx="751">
                  <c:v>0.60317024162708999</c:v>
                </c:pt>
                <c:pt idx="752">
                  <c:v>0.62206404131735493</c:v>
                </c:pt>
                <c:pt idx="753">
                  <c:v>0.65501368289840756</c:v>
                </c:pt>
                <c:pt idx="754">
                  <c:v>0.66852561237386976</c:v>
                </c:pt>
                <c:pt idx="755">
                  <c:v>0.62214992222503795</c:v>
                </c:pt>
                <c:pt idx="756">
                  <c:v>0.61012659514941481</c:v>
                </c:pt>
                <c:pt idx="757">
                  <c:v>0.61012659514941481</c:v>
                </c:pt>
                <c:pt idx="758">
                  <c:v>0.60291259890404103</c:v>
                </c:pt>
                <c:pt idx="759">
                  <c:v>0.61144343573388782</c:v>
                </c:pt>
                <c:pt idx="760">
                  <c:v>0.61107128513392817</c:v>
                </c:pt>
                <c:pt idx="761">
                  <c:v>0.58942929639780661</c:v>
                </c:pt>
                <c:pt idx="762">
                  <c:v>0.59220611241289101</c:v>
                </c:pt>
                <c:pt idx="763">
                  <c:v>0.59979225925822466</c:v>
                </c:pt>
                <c:pt idx="764">
                  <c:v>0.60108047287346988</c:v>
                </c:pt>
                <c:pt idx="765">
                  <c:v>0.58776893218260151</c:v>
                </c:pt>
                <c:pt idx="766">
                  <c:v>0.62710238790142547</c:v>
                </c:pt>
                <c:pt idx="767">
                  <c:v>0.62947842634732243</c:v>
                </c:pt>
                <c:pt idx="768">
                  <c:v>0.6402421667769278</c:v>
                </c:pt>
                <c:pt idx="769">
                  <c:v>0.65469878623690314</c:v>
                </c:pt>
                <c:pt idx="770">
                  <c:v>0.59993539410436292</c:v>
                </c:pt>
                <c:pt idx="771">
                  <c:v>0.55559221877069598</c:v>
                </c:pt>
                <c:pt idx="772">
                  <c:v>0.57752047719909427</c:v>
                </c:pt>
                <c:pt idx="773">
                  <c:v>0.58593680615203036</c:v>
                </c:pt>
                <c:pt idx="774">
                  <c:v>0.60839847130511937</c:v>
                </c:pt>
                <c:pt idx="775">
                  <c:v>0.63455504537904905</c:v>
                </c:pt>
                <c:pt idx="776">
                  <c:v>0.63031033818284121</c:v>
                </c:pt>
                <c:pt idx="777">
                  <c:v>0.60492813636767917</c:v>
                </c:pt>
                <c:pt idx="778">
                  <c:v>0.62684000324540101</c:v>
                </c:pt>
                <c:pt idx="779">
                  <c:v>0.60553042590227624</c:v>
                </c:pt>
                <c:pt idx="780">
                  <c:v>0.63117075180369409</c:v>
                </c:pt>
                <c:pt idx="781">
                  <c:v>0.62176356288236845</c:v>
                </c:pt>
                <c:pt idx="782">
                  <c:v>0.60415376410891153</c:v>
                </c:pt>
                <c:pt idx="783">
                  <c:v>0.61356095303023706</c:v>
                </c:pt>
                <c:pt idx="784">
                  <c:v>0.6235130705781029</c:v>
                </c:pt>
                <c:pt idx="785">
                  <c:v>0.62792986049848132</c:v>
                </c:pt>
                <c:pt idx="786">
                  <c:v>0.66859874431079735</c:v>
                </c:pt>
                <c:pt idx="787">
                  <c:v>0.65067346054302755</c:v>
                </c:pt>
                <c:pt idx="788">
                  <c:v>0.65368490821601288</c:v>
                </c:pt>
                <c:pt idx="789">
                  <c:v>0.61918232201980972</c:v>
                </c:pt>
                <c:pt idx="790">
                  <c:v>0.61918232201980972</c:v>
                </c:pt>
                <c:pt idx="791">
                  <c:v>0.6144787275591469</c:v>
                </c:pt>
                <c:pt idx="792">
                  <c:v>0.60664896360938514</c:v>
                </c:pt>
                <c:pt idx="793">
                  <c:v>0.64878055057715112</c:v>
                </c:pt>
                <c:pt idx="794">
                  <c:v>0.64387619293828935</c:v>
                </c:pt>
                <c:pt idx="795">
                  <c:v>0.63983224892028046</c:v>
                </c:pt>
                <c:pt idx="796">
                  <c:v>0.64488000882928442</c:v>
                </c:pt>
                <c:pt idx="797">
                  <c:v>0.65965044265392658</c:v>
                </c:pt>
                <c:pt idx="798">
                  <c:v>0.66039613445866585</c:v>
                </c:pt>
                <c:pt idx="799">
                  <c:v>0.64966964465203259</c:v>
                </c:pt>
                <c:pt idx="800">
                  <c:v>0.66785305250605809</c:v>
                </c:pt>
                <c:pt idx="801">
                  <c:v>0.64232744842075395</c:v>
                </c:pt>
                <c:pt idx="802">
                  <c:v>0.61063554671933695</c:v>
                </c:pt>
                <c:pt idx="803">
                  <c:v>0.68322577586529742</c:v>
                </c:pt>
                <c:pt idx="804">
                  <c:v>0.69105553981505929</c:v>
                </c:pt>
                <c:pt idx="805">
                  <c:v>0.68821617486624453</c:v>
                </c:pt>
                <c:pt idx="806">
                  <c:v>0.68524429864437808</c:v>
                </c:pt>
                <c:pt idx="807">
                  <c:v>0.69691294760759526</c:v>
                </c:pt>
                <c:pt idx="808">
                  <c:v>0.71320284368495812</c:v>
                </c:pt>
                <c:pt idx="809">
                  <c:v>0.72287857983019999</c:v>
                </c:pt>
                <c:pt idx="810">
                  <c:v>0.75678698053024218</c:v>
                </c:pt>
                <c:pt idx="811">
                  <c:v>0.76276571898416778</c:v>
                </c:pt>
                <c:pt idx="812">
                  <c:v>0.76135046205546086</c:v>
                </c:pt>
                <c:pt idx="813">
                  <c:v>0.79765613469596608</c:v>
                </c:pt>
                <c:pt idx="814">
                  <c:v>0.79566322187799066</c:v>
                </c:pt>
                <c:pt idx="815">
                  <c:v>0.81593894359130381</c:v>
                </c:pt>
                <c:pt idx="816">
                  <c:v>0.83679232119388514</c:v>
                </c:pt>
                <c:pt idx="817">
                  <c:v>0.79479673804408857</c:v>
                </c:pt>
                <c:pt idx="818">
                  <c:v>0.81822068435391326</c:v>
                </c:pt>
                <c:pt idx="819">
                  <c:v>0.78795151575626055</c:v>
                </c:pt>
                <c:pt idx="820">
                  <c:v>0.80172860871530649</c:v>
                </c:pt>
                <c:pt idx="821">
                  <c:v>0.82289969705698551</c:v>
                </c:pt>
                <c:pt idx="822">
                  <c:v>0.81842286391515706</c:v>
                </c:pt>
                <c:pt idx="823">
                  <c:v>0.81842286391515706</c:v>
                </c:pt>
                <c:pt idx="824">
                  <c:v>0.84444626172668857</c:v>
                </c:pt>
                <c:pt idx="825">
                  <c:v>0.84914998836064504</c:v>
                </c:pt>
                <c:pt idx="826">
                  <c:v>0.84964134442457262</c:v>
                </c:pt>
                <c:pt idx="827">
                  <c:v>1.0876310991528326</c:v>
                </c:pt>
                <c:pt idx="828">
                  <c:v>1.1230954456492592</c:v>
                </c:pt>
                <c:pt idx="829">
                  <c:v>1.1203496323508397</c:v>
                </c:pt>
                <c:pt idx="830">
                  <c:v>1.0652599465951849</c:v>
                </c:pt>
                <c:pt idx="831">
                  <c:v>1.0829198615987028</c:v>
                </c:pt>
                <c:pt idx="832">
                  <c:v>1.0824574088326531</c:v>
                </c:pt>
                <c:pt idx="833">
                  <c:v>1.1034990096879087</c:v>
                </c:pt>
                <c:pt idx="834">
                  <c:v>1.1101756714977493</c:v>
                </c:pt>
                <c:pt idx="835">
                  <c:v>1.0826886352156779</c:v>
                </c:pt>
                <c:pt idx="836">
                  <c:v>1.113933100221902</c:v>
                </c:pt>
                <c:pt idx="837">
                  <c:v>1.0980362863889479</c:v>
                </c:pt>
                <c:pt idx="838">
                  <c:v>1.0980362863889479</c:v>
                </c:pt>
                <c:pt idx="839">
                  <c:v>1.0976894468144107</c:v>
                </c:pt>
                <c:pt idx="840">
                  <c:v>1.0779773976615479</c:v>
                </c:pt>
                <c:pt idx="841">
                  <c:v>1.0982675127719728</c:v>
                </c:pt>
                <c:pt idx="842">
                  <c:v>1.1224306697980626</c:v>
                </c:pt>
                <c:pt idx="843">
                  <c:v>1.1504090621440619</c:v>
                </c:pt>
                <c:pt idx="844">
                  <c:v>1.1647740011894767</c:v>
                </c:pt>
                <c:pt idx="845">
                  <c:v>1.187896639491955</c:v>
                </c:pt>
                <c:pt idx="846">
                  <c:v>1.1891394813007135</c:v>
                </c:pt>
                <c:pt idx="847">
                  <c:v>1.1891394813007135</c:v>
                </c:pt>
                <c:pt idx="848">
                  <c:v>1.1837923711932652</c:v>
                </c:pt>
                <c:pt idx="849">
                  <c:v>1.1532993919318715</c:v>
                </c:pt>
                <c:pt idx="850">
                  <c:v>1.1232399621386495</c:v>
                </c:pt>
                <c:pt idx="851">
                  <c:v>1.1405819408655085</c:v>
                </c:pt>
                <c:pt idx="852">
                  <c:v>1.1394258089503844</c:v>
                </c:pt>
                <c:pt idx="853">
                  <c:v>1.1303501734166614</c:v>
                </c:pt>
                <c:pt idx="854">
                  <c:v>1.1769711928940338</c:v>
                </c:pt>
                <c:pt idx="855">
                  <c:v>1.1523166798040163</c:v>
                </c:pt>
                <c:pt idx="856">
                  <c:v>1.1826362392781413</c:v>
                </c:pt>
                <c:pt idx="857">
                  <c:v>1.2313382962027366</c:v>
                </c:pt>
                <c:pt idx="858">
                  <c:v>1.2463391078014696</c:v>
                </c:pt>
                <c:pt idx="859">
                  <c:v>1.1926656836418412</c:v>
                </c:pt>
                <c:pt idx="860">
                  <c:v>1.1843993404487052</c:v>
                </c:pt>
                <c:pt idx="861">
                  <c:v>1.1867116042789529</c:v>
                </c:pt>
                <c:pt idx="862">
                  <c:v>1.2109614711986774</c:v>
                </c:pt>
                <c:pt idx="863">
                  <c:v>1.1709882102332676</c:v>
                </c:pt>
                <c:pt idx="864">
                  <c:v>1.1664792957642842</c:v>
                </c:pt>
                <c:pt idx="865">
                  <c:v>1.1897175472582753</c:v>
                </c:pt>
                <c:pt idx="866">
                  <c:v>1.2369776220410427</c:v>
                </c:pt>
                <c:pt idx="867">
                  <c:v>1.240395817170443</c:v>
                </c:pt>
                <c:pt idx="868">
                  <c:v>1.164932586236763</c:v>
                </c:pt>
                <c:pt idx="869">
                  <c:v>1.1767940154892111</c:v>
                </c:pt>
                <c:pt idx="870">
                  <c:v>1.1732005283018931</c:v>
                </c:pt>
                <c:pt idx="871">
                  <c:v>1.1614559604213899</c:v>
                </c:pt>
                <c:pt idx="872">
                  <c:v>1.0815227820108022</c:v>
                </c:pt>
                <c:pt idx="873">
                  <c:v>1.0517523475077359</c:v>
                </c:pt>
                <c:pt idx="874">
                  <c:v>1.050759025846201</c:v>
                </c:pt>
                <c:pt idx="875">
                  <c:v>1.0407089478589047</c:v>
                </c:pt>
                <c:pt idx="876">
                  <c:v>1.0646363137647057</c:v>
                </c:pt>
                <c:pt idx="877">
                  <c:v>1.0731964092596991</c:v>
                </c:pt>
                <c:pt idx="878">
                  <c:v>1.0483341523783358</c:v>
                </c:pt>
                <c:pt idx="879">
                  <c:v>1.0259551996508101</c:v>
                </c:pt>
                <c:pt idx="880">
                  <c:v>1.0249618779892748</c:v>
                </c:pt>
                <c:pt idx="881">
                  <c:v>1.0476621994896502</c:v>
                </c:pt>
                <c:pt idx="882">
                  <c:v>1.0577122774769465</c:v>
                </c:pt>
                <c:pt idx="883">
                  <c:v>1.08312962587505</c:v>
                </c:pt>
                <c:pt idx="884">
                  <c:v>1.0539434982317104</c:v>
                </c:pt>
                <c:pt idx="885">
                  <c:v>1.0618608561810046</c:v>
                </c:pt>
                <c:pt idx="886">
                  <c:v>1.0351580326915026</c:v>
                </c:pt>
                <c:pt idx="887">
                  <c:v>1.0733132706316446</c:v>
                </c:pt>
                <c:pt idx="888">
                  <c:v>1.0971134743484867</c:v>
                </c:pt>
                <c:pt idx="889">
                  <c:v>1.1140002337267736</c:v>
                </c:pt>
                <c:pt idx="890">
                  <c:v>1.1478321841766976</c:v>
                </c:pt>
                <c:pt idx="891">
                  <c:v>1.1478321841766976</c:v>
                </c:pt>
                <c:pt idx="892">
                  <c:v>1.1514841650111021</c:v>
                </c:pt>
                <c:pt idx="893">
                  <c:v>1.116804955007596</c:v>
                </c:pt>
                <c:pt idx="894">
                  <c:v>1.1030150753768848</c:v>
                </c:pt>
                <c:pt idx="895">
                  <c:v>1.1022846792100038</c:v>
                </c:pt>
                <c:pt idx="896">
                  <c:v>1.1519224027112305</c:v>
                </c:pt>
                <c:pt idx="897">
                  <c:v>1.0943379689143391</c:v>
                </c:pt>
                <c:pt idx="898">
                  <c:v>1.0849012504382378</c:v>
                </c:pt>
                <c:pt idx="899">
                  <c:v>1.0690662615402595</c:v>
                </c:pt>
                <c:pt idx="900">
                  <c:v>1.057993455650345</c:v>
                </c:pt>
                <c:pt idx="901">
                  <c:v>1.0416617973588878</c:v>
                </c:pt>
                <c:pt idx="902">
                  <c:v>1.0389447236180906</c:v>
                </c:pt>
                <c:pt idx="903">
                  <c:v>1.0274044641813722</c:v>
                </c:pt>
                <c:pt idx="904">
                  <c:v>0.97469907677924517</c:v>
                </c:pt>
                <c:pt idx="905">
                  <c:v>0.98095126796774568</c:v>
                </c:pt>
                <c:pt idx="906">
                  <c:v>0.97379338553231287</c:v>
                </c:pt>
                <c:pt idx="907">
                  <c:v>0.95039149234544829</c:v>
                </c:pt>
                <c:pt idx="908">
                  <c:v>0.95874722449456606</c:v>
                </c:pt>
                <c:pt idx="909">
                  <c:v>1.0024249152740448</c:v>
                </c:pt>
                <c:pt idx="910">
                  <c:v>1.0468330022204047</c:v>
                </c:pt>
                <c:pt idx="911">
                  <c:v>1.0473004557672083</c:v>
                </c:pt>
                <c:pt idx="912">
                  <c:v>1.0670211522729931</c:v>
                </c:pt>
                <c:pt idx="913">
                  <c:v>1.0644793736122473</c:v>
                </c:pt>
                <c:pt idx="914">
                  <c:v>1.024541311207199</c:v>
                </c:pt>
                <c:pt idx="915">
                  <c:v>1.0756106111955126</c:v>
                </c:pt>
                <c:pt idx="916">
                  <c:v>1.0684235129134043</c:v>
                </c:pt>
                <c:pt idx="917">
                  <c:v>1.0479139885473883</c:v>
                </c:pt>
                <c:pt idx="918">
                  <c:v>1.0459273109734721</c:v>
                </c:pt>
                <c:pt idx="919">
                  <c:v>1.0116863386700947</c:v>
                </c:pt>
                <c:pt idx="920">
                  <c:v>1</c:v>
                </c:pt>
                <c:pt idx="921">
                  <c:v>1</c:v>
                </c:pt>
              </c:numCache>
            </c:numRef>
          </c:val>
          <c:smooth val="0"/>
          <c:extLst>
            <c:ext xmlns:c16="http://schemas.microsoft.com/office/drawing/2014/chart" uri="{C3380CC4-5D6E-409C-BE32-E72D297353CC}">
              <c16:uniqueId val="{00000000-B9B2-4D69-9144-C8D4670E5D4F}"/>
            </c:ext>
          </c:extLst>
        </c:ser>
        <c:ser>
          <c:idx val="1"/>
          <c:order val="1"/>
          <c:tx>
            <c:strRef>
              <c:f>Sheet3!$S$1</c:f>
              <c:strCache>
                <c:ptCount val="1"/>
                <c:pt idx="0">
                  <c:v>CONFLUENT</c:v>
                </c:pt>
              </c:strCache>
            </c:strRef>
          </c:tx>
          <c:spPr>
            <a:ln w="28575" cap="rnd">
              <a:solidFill>
                <a:schemeClr val="accent1">
                  <a:shade val="65000"/>
                </a:schemeClr>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S$2:$S$1410</c:f>
              <c:numCache>
                <c:formatCode>General</c:formatCode>
                <c:ptCount val="1409"/>
                <c:pt idx="356">
                  <c:v>1.335051501507357</c:v>
                </c:pt>
                <c:pt idx="357">
                  <c:v>1.3685612348859291</c:v>
                </c:pt>
                <c:pt idx="358">
                  <c:v>1.5764402003583096</c:v>
                </c:pt>
                <c:pt idx="359">
                  <c:v>1.4827315654235418</c:v>
                </c:pt>
                <c:pt idx="360">
                  <c:v>1.450295015934207</c:v>
                </c:pt>
                <c:pt idx="361">
                  <c:v>1.351064304317656</c:v>
                </c:pt>
                <c:pt idx="362">
                  <c:v>1.3281649093292212</c:v>
                </c:pt>
                <c:pt idx="363">
                  <c:v>1.3281649093292212</c:v>
                </c:pt>
                <c:pt idx="364">
                  <c:v>1.3128986460035981</c:v>
                </c:pt>
                <c:pt idx="365">
                  <c:v>1.2823661193523515</c:v>
                </c:pt>
                <c:pt idx="366">
                  <c:v>1.3022122616756617</c:v>
                </c:pt>
                <c:pt idx="367">
                  <c:v>1.3986950458936005</c:v>
                </c:pt>
                <c:pt idx="368">
                  <c:v>1.3757956509051656</c:v>
                </c:pt>
                <c:pt idx="369">
                  <c:v>1.3229743797985092</c:v>
                </c:pt>
                <c:pt idx="370">
                  <c:v>1.2670998560267284</c:v>
                </c:pt>
                <c:pt idx="371">
                  <c:v>1.2359566788424567</c:v>
                </c:pt>
                <c:pt idx="372">
                  <c:v>1.233514076710357</c:v>
                </c:pt>
                <c:pt idx="373">
                  <c:v>1.225575619781033</c:v>
                </c:pt>
                <c:pt idx="374">
                  <c:v>1.2405365578401437</c:v>
                </c:pt>
                <c:pt idx="375">
                  <c:v>1.2017602489930608</c:v>
                </c:pt>
                <c:pt idx="376">
                  <c:v>1.2020655742595732</c:v>
                </c:pt>
                <c:pt idx="377">
                  <c:v>1.2225223671159084</c:v>
                </c:pt>
                <c:pt idx="378">
                  <c:v>1.2213010660498584</c:v>
                </c:pt>
                <c:pt idx="379">
                  <c:v>1.1910738646651244</c:v>
                </c:pt>
                <c:pt idx="380">
                  <c:v>1.1977910205283986</c:v>
                </c:pt>
                <c:pt idx="381">
                  <c:v>1.1933982680322077</c:v>
                </c:pt>
                <c:pt idx="382">
                  <c:v>1.1992122595944161</c:v>
                </c:pt>
                <c:pt idx="383">
                  <c:v>1.2711221552322545</c:v>
                </c:pt>
                <c:pt idx="384">
                  <c:v>1.2671441610054801</c:v>
                </c:pt>
                <c:pt idx="385">
                  <c:v>1.270204156564537</c:v>
                </c:pt>
                <c:pt idx="386">
                  <c:v>1.2316482125204198</c:v>
                </c:pt>
                <c:pt idx="387">
                  <c:v>1.3577200295535656</c:v>
                </c:pt>
                <c:pt idx="388">
                  <c:v>1.4467659003221227</c:v>
                </c:pt>
                <c:pt idx="389">
                  <c:v>1.5449917577678507</c:v>
                </c:pt>
                <c:pt idx="390">
                  <c:v>1.5318337768639056</c:v>
                </c:pt>
                <c:pt idx="391">
                  <c:v>1.6569875952293349</c:v>
                </c:pt>
                <c:pt idx="392">
                  <c:v>1.6523976018907496</c:v>
                </c:pt>
                <c:pt idx="393">
                  <c:v>1.5908916911537048</c:v>
                </c:pt>
                <c:pt idx="394">
                  <c:v>1.6055796698371783</c:v>
                </c:pt>
                <c:pt idx="395">
                  <c:v>1.6135356582907259</c:v>
                </c:pt>
                <c:pt idx="396">
                  <c:v>1.5933396876009505</c:v>
                </c:pt>
                <c:pt idx="397">
                  <c:v>1.6531626007805136</c:v>
                </c:pt>
                <c:pt idx="398">
                  <c:v>1.7068655228419629</c:v>
                </c:pt>
                <c:pt idx="399">
                  <c:v>1.591809689821422</c:v>
                </c:pt>
                <c:pt idx="400">
                  <c:v>1.6190436502970287</c:v>
                </c:pt>
                <c:pt idx="401">
                  <c:v>1.7650054384640446</c:v>
                </c:pt>
                <c:pt idx="402">
                  <c:v>1.6829975574813187</c:v>
                </c:pt>
                <c:pt idx="403">
                  <c:v>1.7178815068545681</c:v>
                </c:pt>
                <c:pt idx="404">
                  <c:v>1.7108435170687368</c:v>
                </c:pt>
                <c:pt idx="405">
                  <c:v>1.6239396431915201</c:v>
                </c:pt>
                <c:pt idx="406">
                  <c:v>1.6670855805742226</c:v>
                </c:pt>
                <c:pt idx="407">
                  <c:v>1.8057033793995021</c:v>
                </c:pt>
                <c:pt idx="408">
                  <c:v>1.8057033793995021</c:v>
                </c:pt>
                <c:pt idx="409">
                  <c:v>1.8766952763696232</c:v>
                </c:pt>
                <c:pt idx="410">
                  <c:v>1.7971353918341428</c:v>
                </c:pt>
                <c:pt idx="411">
                  <c:v>1.9859371178279563</c:v>
                </c:pt>
                <c:pt idx="412">
                  <c:v>2.004603090738204</c:v>
                </c:pt>
                <c:pt idx="413">
                  <c:v>1.9935871067255986</c:v>
                </c:pt>
                <c:pt idx="414">
                  <c:v>1.9544191635696697</c:v>
                </c:pt>
                <c:pt idx="415">
                  <c:v>2.0606010094689458</c:v>
                </c:pt>
                <c:pt idx="416">
                  <c:v>2.0728409917051733</c:v>
                </c:pt>
                <c:pt idx="417">
                  <c:v>2.1346529019981237</c:v>
                </c:pt>
                <c:pt idx="418">
                  <c:v>2.1126209339729138</c:v>
                </c:pt>
                <c:pt idx="419">
                  <c:v>2.2218627754312466</c:v>
                </c:pt>
                <c:pt idx="420">
                  <c:v>2.1774928398249207</c:v>
                </c:pt>
                <c:pt idx="421">
                  <c:v>2.1471988837902569</c:v>
                </c:pt>
                <c:pt idx="422">
                  <c:v>1.9146392213019292</c:v>
                </c:pt>
                <c:pt idx="423">
                  <c:v>1.7980533905018599</c:v>
                </c:pt>
                <c:pt idx="424">
                  <c:v>1.853254785273198</c:v>
                </c:pt>
                <c:pt idx="425">
                  <c:v>2.006734728932035</c:v>
                </c:pt>
                <c:pt idx="426">
                  <c:v>1.875313643572343</c:v>
                </c:pt>
                <c:pt idx="427">
                  <c:v>1.9797048603119562</c:v>
                </c:pt>
                <c:pt idx="428">
                  <c:v>2.0660761646381842</c:v>
                </c:pt>
                <c:pt idx="429">
                  <c:v>2.0955915384187298</c:v>
                </c:pt>
                <c:pt idx="430">
                  <c:v>2.078503690440519</c:v>
                </c:pt>
                <c:pt idx="431">
                  <c:v>2.035939414567522</c:v>
                </c:pt>
                <c:pt idx="432">
                  <c:v>2.0710471749591179</c:v>
                </c:pt>
                <c:pt idx="433">
                  <c:v>2.0710471749591179</c:v>
                </c:pt>
                <c:pt idx="434">
                  <c:v>2.1384665024367853</c:v>
                </c:pt>
                <c:pt idx="435">
                  <c:v>2.1061549353507143</c:v>
                </c:pt>
                <c:pt idx="436">
                  <c:v>2.1269710410696252</c:v>
                </c:pt>
                <c:pt idx="437">
                  <c:v>2.0471241877896236</c:v>
                </c:pt>
                <c:pt idx="438">
                  <c:v>1.9706949041052635</c:v>
                </c:pt>
                <c:pt idx="439">
                  <c:v>2.0871680740006204</c:v>
                </c:pt>
                <c:pt idx="440">
                  <c:v>2.1117193363362441</c:v>
                </c:pt>
                <c:pt idx="441">
                  <c:v>2.2030873252814769</c:v>
                </c:pt>
                <c:pt idx="442">
                  <c:v>2.3603397144185099</c:v>
                </c:pt>
                <c:pt idx="443">
                  <c:v>2.3789862427746797</c:v>
                </c:pt>
                <c:pt idx="444">
                  <c:v>2.2873074783568446</c:v>
                </c:pt>
                <c:pt idx="445">
                  <c:v>2.9088584235625086</c:v>
                </c:pt>
                <c:pt idx="446">
                  <c:v>2.7348241589049223</c:v>
                </c:pt>
                <c:pt idx="447">
                  <c:v>2.7954253760624748</c:v>
                </c:pt>
                <c:pt idx="448">
                  <c:v>2.7848590099939781</c:v>
                </c:pt>
                <c:pt idx="449">
                  <c:v>2.7388642400487595</c:v>
                </c:pt>
                <c:pt idx="450">
                  <c:v>2.7972900288980922</c:v>
                </c:pt>
                <c:pt idx="451">
                  <c:v>2.4862037808226569</c:v>
                </c:pt>
                <c:pt idx="452">
                  <c:v>2.5461834470350038</c:v>
                </c:pt>
                <c:pt idx="453">
                  <c:v>2.4806098223158055</c:v>
                </c:pt>
                <c:pt idx="454">
                  <c:v>2.4911761883843022</c:v>
                </c:pt>
                <c:pt idx="455">
                  <c:v>2.4784343940075861</c:v>
                </c:pt>
                <c:pt idx="456">
                  <c:v>2.3957681182952331</c:v>
                </c:pt>
                <c:pt idx="457">
                  <c:v>2.3500841238226164</c:v>
                </c:pt>
                <c:pt idx="458">
                  <c:v>2.4796774958979975</c:v>
                </c:pt>
                <c:pt idx="459">
                  <c:v>2.4796774958979975</c:v>
                </c:pt>
                <c:pt idx="460">
                  <c:v>2.5185244299733518</c:v>
                </c:pt>
                <c:pt idx="461">
                  <c:v>2.6241880906583139</c:v>
                </c:pt>
                <c:pt idx="462">
                  <c:v>2.4246702372472964</c:v>
                </c:pt>
                <c:pt idx="463">
                  <c:v>2.1928317346855835</c:v>
                </c:pt>
                <c:pt idx="464">
                  <c:v>2.3932819145144104</c:v>
                </c:pt>
                <c:pt idx="465">
                  <c:v>2.2587161348773841</c:v>
                </c:pt>
                <c:pt idx="466">
                  <c:v>2.136581374144471</c:v>
                </c:pt>
                <c:pt idx="467">
                  <c:v>2.2714579292541002</c:v>
                </c:pt>
                <c:pt idx="468">
                  <c:v>2.1446615364321446</c:v>
                </c:pt>
                <c:pt idx="469">
                  <c:v>2.0790879117129468</c:v>
                </c:pt>
                <c:pt idx="470">
                  <c:v>2.0026371454526499</c:v>
                </c:pt>
                <c:pt idx="471">
                  <c:v>1.9818151887882605</c:v>
                </c:pt>
                <c:pt idx="472">
                  <c:v>1.9544669471992111</c:v>
                </c:pt>
                <c:pt idx="473">
                  <c:v>1.9846121680416859</c:v>
                </c:pt>
                <c:pt idx="474">
                  <c:v>1.8640312846717868</c:v>
                </c:pt>
                <c:pt idx="475">
                  <c:v>1.9662764151581189</c:v>
                </c:pt>
                <c:pt idx="476">
                  <c:v>2.0250129794800538</c:v>
                </c:pt>
                <c:pt idx="477">
                  <c:v>2.1427968835965272</c:v>
                </c:pt>
                <c:pt idx="478">
                  <c:v>2.1598895345896834</c:v>
                </c:pt>
                <c:pt idx="479">
                  <c:v>2.230435566870526</c:v>
                </c:pt>
                <c:pt idx="480">
                  <c:v>2.230435566870526</c:v>
                </c:pt>
                <c:pt idx="481">
                  <c:v>2.3802293446650911</c:v>
                </c:pt>
                <c:pt idx="482">
                  <c:v>2.3295729426308291</c:v>
                </c:pt>
                <c:pt idx="483">
                  <c:v>2.3333022483020631</c:v>
                </c:pt>
                <c:pt idx="484">
                  <c:v>2.4041590560555091</c:v>
                </c:pt>
                <c:pt idx="485">
                  <c:v>2.4349969735444246</c:v>
                </c:pt>
                <c:pt idx="486">
                  <c:v>2.0750492309966062</c:v>
                </c:pt>
                <c:pt idx="487">
                  <c:v>1.941865372396393</c:v>
                </c:pt>
                <c:pt idx="488">
                  <c:v>2.0728135307323345</c:v>
                </c:pt>
                <c:pt idx="489">
                  <c:v>2.1433977819329266</c:v>
                </c:pt>
                <c:pt idx="490">
                  <c:v>2.2325064067517748</c:v>
                </c:pt>
                <c:pt idx="491">
                  <c:v>2.2986192574238227</c:v>
                </c:pt>
                <c:pt idx="492">
                  <c:v>2.3522760637663551</c:v>
                </c:pt>
                <c:pt idx="493">
                  <c:v>2.0105333090847526</c:v>
                </c:pt>
                <c:pt idx="494">
                  <c:v>2.076007388252723</c:v>
                </c:pt>
                <c:pt idx="495">
                  <c:v>2.076007388252723</c:v>
                </c:pt>
                <c:pt idx="496">
                  <c:v>1.9722070188400866</c:v>
                </c:pt>
                <c:pt idx="497">
                  <c:v>1.9584734315024148</c:v>
                </c:pt>
                <c:pt idx="498">
                  <c:v>1.9801916626410587</c:v>
                </c:pt>
                <c:pt idx="499">
                  <c:v>1.9128012689608549</c:v>
                </c:pt>
                <c:pt idx="500">
                  <c:v>1.8728780499559949</c:v>
                </c:pt>
                <c:pt idx="501">
                  <c:v>1.8125141428206466</c:v>
                </c:pt>
                <c:pt idx="502">
                  <c:v>1.7885602114177306</c:v>
                </c:pt>
                <c:pt idx="503">
                  <c:v>1.8604220056264786</c:v>
                </c:pt>
                <c:pt idx="504">
                  <c:v>2.0063812943082469</c:v>
                </c:pt>
                <c:pt idx="505">
                  <c:v>2.2031229175641975</c:v>
                </c:pt>
                <c:pt idx="506">
                  <c:v>2.3040488152084837</c:v>
                </c:pt>
                <c:pt idx="507">
                  <c:v>2.3937962115314093</c:v>
                </c:pt>
                <c:pt idx="508">
                  <c:v>2.3474453907646793</c:v>
                </c:pt>
                <c:pt idx="509">
                  <c:v>1.8339517344435625</c:v>
                </c:pt>
                <c:pt idx="510">
                  <c:v>1.7419013413366542</c:v>
                </c:pt>
                <c:pt idx="511">
                  <c:v>1.8451773921395271</c:v>
                </c:pt>
                <c:pt idx="512">
                  <c:v>1.8586481813746845</c:v>
                </c:pt>
                <c:pt idx="513">
                  <c:v>1.6777547259311429</c:v>
                </c:pt>
                <c:pt idx="514">
                  <c:v>1.5077661951065386</c:v>
                </c:pt>
                <c:pt idx="515">
                  <c:v>1.5077661951065386</c:v>
                </c:pt>
                <c:pt idx="516">
                  <c:v>1.3958303512239216</c:v>
                </c:pt>
                <c:pt idx="517">
                  <c:v>1.2399540757885297</c:v>
                </c:pt>
                <c:pt idx="518">
                  <c:v>1.3656814419833314</c:v>
                </c:pt>
                <c:pt idx="519">
                  <c:v>1.3441923258224853</c:v>
                </c:pt>
                <c:pt idx="520">
                  <c:v>1.3724168366009102</c:v>
                </c:pt>
                <c:pt idx="521">
                  <c:v>1.3881327573752604</c:v>
                </c:pt>
                <c:pt idx="522">
                  <c:v>1.3964718173779769</c:v>
                </c:pt>
                <c:pt idx="523">
                  <c:v>1.2434821396358327</c:v>
                </c:pt>
                <c:pt idx="524">
                  <c:v>1.1418097542180976</c:v>
                </c:pt>
                <c:pt idx="525">
                  <c:v>1.036930038030087</c:v>
                </c:pt>
                <c:pt idx="526">
                  <c:v>1.0741350749652836</c:v>
                </c:pt>
                <c:pt idx="527">
                  <c:v>1.1623366711478613</c:v>
                </c:pt>
                <c:pt idx="528">
                  <c:v>1.1042839842058738</c:v>
                </c:pt>
                <c:pt idx="529">
                  <c:v>0.99683840340164254</c:v>
                </c:pt>
                <c:pt idx="530">
                  <c:v>0.9644443626218594</c:v>
                </c:pt>
                <c:pt idx="531">
                  <c:v>0.97438708800971374</c:v>
                </c:pt>
                <c:pt idx="532">
                  <c:v>1.0420617672625279</c:v>
                </c:pt>
                <c:pt idx="533">
                  <c:v>1.1742037949978807</c:v>
                </c:pt>
                <c:pt idx="534">
                  <c:v>1.2053149034695536</c:v>
                </c:pt>
                <c:pt idx="535">
                  <c:v>1.2341808804020338</c:v>
                </c:pt>
                <c:pt idx="536">
                  <c:v>1.3098738865805368</c:v>
                </c:pt>
                <c:pt idx="537">
                  <c:v>1.3329666681265209</c:v>
                </c:pt>
                <c:pt idx="538">
                  <c:v>1.3637570435211661</c:v>
                </c:pt>
                <c:pt idx="539">
                  <c:v>1.2710651842602028</c:v>
                </c:pt>
                <c:pt idx="540">
                  <c:v>1.3506069873630364</c:v>
                </c:pt>
                <c:pt idx="541">
                  <c:v>1.4211682643090986</c:v>
                </c:pt>
                <c:pt idx="542">
                  <c:v>1.3291178712021903</c:v>
                </c:pt>
                <c:pt idx="543">
                  <c:v>1.3395198615139956</c:v>
                </c:pt>
                <c:pt idx="544">
                  <c:v>1.3587958790333436</c:v>
                </c:pt>
                <c:pt idx="545">
                  <c:v>1.3009678264753002</c:v>
                </c:pt>
                <c:pt idx="546">
                  <c:v>1.2731972927609856</c:v>
                </c:pt>
                <c:pt idx="547">
                  <c:v>1.2552281238870175</c:v>
                </c:pt>
                <c:pt idx="548">
                  <c:v>1.272870580599641</c:v>
                </c:pt>
                <c:pt idx="549">
                  <c:v>1.2496740171441545</c:v>
                </c:pt>
                <c:pt idx="550">
                  <c:v>1.3104424791543017</c:v>
                </c:pt>
                <c:pt idx="551">
                  <c:v>1.2725438684382961</c:v>
                </c:pt>
                <c:pt idx="552">
                  <c:v>1.2725438684382961</c:v>
                </c:pt>
                <c:pt idx="553">
                  <c:v>1.2516342901122239</c:v>
                </c:pt>
                <c:pt idx="554">
                  <c:v>1.2996609778299208</c:v>
                </c:pt>
                <c:pt idx="555">
                  <c:v>1.245426759046671</c:v>
                </c:pt>
                <c:pt idx="556">
                  <c:v>1.1706096740986942</c:v>
                </c:pt>
                <c:pt idx="557">
                  <c:v>1.1127816215406512</c:v>
                </c:pt>
                <c:pt idx="558">
                  <c:v>1.1421857160616902</c:v>
                </c:pt>
                <c:pt idx="559">
                  <c:v>1.0556069933052978</c:v>
                </c:pt>
                <c:pt idx="560">
                  <c:v>1.0454789163036062</c:v>
                </c:pt>
                <c:pt idx="561">
                  <c:v>1.1228346063615848</c:v>
                </c:pt>
                <c:pt idx="562">
                  <c:v>1.0217696796602362</c:v>
                </c:pt>
                <c:pt idx="563">
                  <c:v>0.92397546256087293</c:v>
                </c:pt>
                <c:pt idx="564">
                  <c:v>0.7761393885511334</c:v>
                </c:pt>
                <c:pt idx="565">
                  <c:v>0.65185242367568841</c:v>
                </c:pt>
                <c:pt idx="566">
                  <c:v>0.64498393351151906</c:v>
                </c:pt>
                <c:pt idx="567">
                  <c:v>0.60246470868570912</c:v>
                </c:pt>
                <c:pt idx="568">
                  <c:v>0.63124695318318047</c:v>
                </c:pt>
                <c:pt idx="569">
                  <c:v>0.7045108482676532</c:v>
                </c:pt>
                <c:pt idx="570">
                  <c:v>0.63255523702397465</c:v>
                </c:pt>
                <c:pt idx="571">
                  <c:v>0.6541419203970783</c:v>
                </c:pt>
                <c:pt idx="572">
                  <c:v>0.58643823163598063</c:v>
                </c:pt>
                <c:pt idx="573">
                  <c:v>0.60508127636729736</c:v>
                </c:pt>
                <c:pt idx="574">
                  <c:v>0.61849118573543749</c:v>
                </c:pt>
                <c:pt idx="575">
                  <c:v>0.63320937894437179</c:v>
                </c:pt>
                <c:pt idx="576">
                  <c:v>0.58087802531260546</c:v>
                </c:pt>
                <c:pt idx="577">
                  <c:v>0.61227683749166517</c:v>
                </c:pt>
                <c:pt idx="578">
                  <c:v>0.6456380754319162</c:v>
                </c:pt>
                <c:pt idx="579">
                  <c:v>0.69862357098407957</c:v>
                </c:pt>
                <c:pt idx="580">
                  <c:v>0.69862357098407957</c:v>
                </c:pt>
                <c:pt idx="581">
                  <c:v>0.69110093889951307</c:v>
                </c:pt>
                <c:pt idx="582">
                  <c:v>0.68096173913335845</c:v>
                </c:pt>
                <c:pt idx="583">
                  <c:v>0.74441350541187512</c:v>
                </c:pt>
                <c:pt idx="584">
                  <c:v>0.73263895084472763</c:v>
                </c:pt>
                <c:pt idx="585">
                  <c:v>0.73394723468552181</c:v>
                </c:pt>
                <c:pt idx="586">
                  <c:v>0.75226320845663996</c:v>
                </c:pt>
                <c:pt idx="587">
                  <c:v>0.72184560915817586</c:v>
                </c:pt>
                <c:pt idx="588">
                  <c:v>0.67474739088958624</c:v>
                </c:pt>
                <c:pt idx="589">
                  <c:v>0.58807358643697338</c:v>
                </c:pt>
                <c:pt idx="590">
                  <c:v>0.5910172250787602</c:v>
                </c:pt>
                <c:pt idx="591">
                  <c:v>0.63778837238715136</c:v>
                </c:pt>
                <c:pt idx="592">
                  <c:v>0.61064148269067264</c:v>
                </c:pt>
                <c:pt idx="593">
                  <c:v>0.65708555903886512</c:v>
                </c:pt>
                <c:pt idx="594">
                  <c:v>0.65708555903886512</c:v>
                </c:pt>
                <c:pt idx="595">
                  <c:v>0.69535286138209418</c:v>
                </c:pt>
                <c:pt idx="596">
                  <c:v>0.70712741594924167</c:v>
                </c:pt>
                <c:pt idx="597">
                  <c:v>0.75945876958100778</c:v>
                </c:pt>
                <c:pt idx="598">
                  <c:v>0.82683538738190687</c:v>
                </c:pt>
                <c:pt idx="599">
                  <c:v>0.82585417450131138</c:v>
                </c:pt>
                <c:pt idx="600">
                  <c:v>0.77973716911331725</c:v>
                </c:pt>
                <c:pt idx="601">
                  <c:v>0.77417696278994219</c:v>
                </c:pt>
                <c:pt idx="602">
                  <c:v>0.76850085543933677</c:v>
                </c:pt>
                <c:pt idx="603">
                  <c:v>0.81148928539076259</c:v>
                </c:pt>
                <c:pt idx="604">
                  <c:v>0.81148928539076259</c:v>
                </c:pt>
                <c:pt idx="605">
                  <c:v>0.90110362782796594</c:v>
                </c:pt>
                <c:pt idx="606">
                  <c:v>0.89250594183768073</c:v>
                </c:pt>
                <c:pt idx="607">
                  <c:v>0.9473988600833475</c:v>
                </c:pt>
                <c:pt idx="608">
                  <c:v>0.95566586584323709</c:v>
                </c:pt>
                <c:pt idx="609">
                  <c:v>0.90275702897994381</c:v>
                </c:pt>
                <c:pt idx="610">
                  <c:v>0.8369516631312226</c:v>
                </c:pt>
                <c:pt idx="611">
                  <c:v>0.82207105276342118</c:v>
                </c:pt>
                <c:pt idx="612">
                  <c:v>0.77643718096883074</c:v>
                </c:pt>
                <c:pt idx="613">
                  <c:v>0.79429391341019229</c:v>
                </c:pt>
                <c:pt idx="614">
                  <c:v>0.79396323317979667</c:v>
                </c:pt>
                <c:pt idx="615">
                  <c:v>0.79495527387098353</c:v>
                </c:pt>
                <c:pt idx="616">
                  <c:v>0.8981275057544057</c:v>
                </c:pt>
                <c:pt idx="617">
                  <c:v>0.92127512188209637</c:v>
                </c:pt>
                <c:pt idx="618">
                  <c:v>0.84654138981269456</c:v>
                </c:pt>
                <c:pt idx="619">
                  <c:v>0.81082792492997158</c:v>
                </c:pt>
                <c:pt idx="620">
                  <c:v>0.75295888461074434</c:v>
                </c:pt>
                <c:pt idx="621">
                  <c:v>0.81833133471168729</c:v>
                </c:pt>
                <c:pt idx="622">
                  <c:v>0.83721590397426482</c:v>
                </c:pt>
                <c:pt idx="623">
                  <c:v>0.84317945216244716</c:v>
                </c:pt>
                <c:pt idx="624">
                  <c:v>0.8597448637962869</c:v>
                </c:pt>
                <c:pt idx="625">
                  <c:v>0.88923129650452182</c:v>
                </c:pt>
                <c:pt idx="626">
                  <c:v>0.96145649122806343</c:v>
                </c:pt>
                <c:pt idx="627">
                  <c:v>1.07145082447676</c:v>
                </c:pt>
                <c:pt idx="628">
                  <c:v>1.1175026688188345</c:v>
                </c:pt>
                <c:pt idx="629">
                  <c:v>1.111870428863329</c:v>
                </c:pt>
                <c:pt idx="630">
                  <c:v>1.0210919731098869</c:v>
                </c:pt>
                <c:pt idx="631">
                  <c:v>1.0750952150362045</c:v>
                </c:pt>
                <c:pt idx="632">
                  <c:v>1.0253989801346852</c:v>
                </c:pt>
                <c:pt idx="633">
                  <c:v>1.1032564148137323</c:v>
                </c:pt>
                <c:pt idx="634">
                  <c:v>1.0946424007641355</c:v>
                </c:pt>
                <c:pt idx="635">
                  <c:v>1.0528975634468594</c:v>
                </c:pt>
                <c:pt idx="636">
                  <c:v>1.0138031919909973</c:v>
                </c:pt>
                <c:pt idx="637">
                  <c:v>1.0224172060405941</c:v>
                </c:pt>
                <c:pt idx="638">
                  <c:v>0.95880602536664916</c:v>
                </c:pt>
                <c:pt idx="639">
                  <c:v>0.91441072218795838</c:v>
                </c:pt>
                <c:pt idx="640">
                  <c:v>0.91938034567811033</c:v>
                </c:pt>
                <c:pt idx="641">
                  <c:v>0.95648686773791147</c:v>
                </c:pt>
                <c:pt idx="642">
                  <c:v>0.99856301328786479</c:v>
                </c:pt>
                <c:pt idx="643">
                  <c:v>0.93925883963871815</c:v>
                </c:pt>
                <c:pt idx="644">
                  <c:v>0.90248362581159369</c:v>
                </c:pt>
                <c:pt idx="645">
                  <c:v>0.90944109869780643</c:v>
                </c:pt>
                <c:pt idx="646">
                  <c:v>0.90645932460371514</c:v>
                </c:pt>
                <c:pt idx="647">
                  <c:v>0.85311869914275107</c:v>
                </c:pt>
                <c:pt idx="648">
                  <c:v>0.81899395117704099</c:v>
                </c:pt>
                <c:pt idx="649">
                  <c:v>0.81899395117704099</c:v>
                </c:pt>
                <c:pt idx="650">
                  <c:v>0.81733741001365712</c:v>
                </c:pt>
                <c:pt idx="651">
                  <c:v>0.85046823328133669</c:v>
                </c:pt>
                <c:pt idx="652">
                  <c:v>0.88326774831633958</c:v>
                </c:pt>
                <c:pt idx="653">
                  <c:v>0.90645932460371514</c:v>
                </c:pt>
                <c:pt idx="654">
                  <c:v>0.88061728245492499</c:v>
                </c:pt>
                <c:pt idx="655">
                  <c:v>0.90877848223245283</c:v>
                </c:pt>
                <c:pt idx="656">
                  <c:v>0.87796681659351072</c:v>
                </c:pt>
                <c:pt idx="657">
                  <c:v>0.83555936281088083</c:v>
                </c:pt>
                <c:pt idx="658">
                  <c:v>0.82893319815734479</c:v>
                </c:pt>
                <c:pt idx="659">
                  <c:v>0.78685705260739169</c:v>
                </c:pt>
                <c:pt idx="660">
                  <c:v>0.80309115600855474</c:v>
                </c:pt>
                <c:pt idx="661">
                  <c:v>0.75571407873577279</c:v>
                </c:pt>
                <c:pt idx="662">
                  <c:v>0.72556502956218438</c:v>
                </c:pt>
                <c:pt idx="663">
                  <c:v>0.72423979663147708</c:v>
                </c:pt>
                <c:pt idx="664">
                  <c:v>0.75339492110703532</c:v>
                </c:pt>
                <c:pt idx="665">
                  <c:v>0.78851359377077568</c:v>
                </c:pt>
                <c:pt idx="666">
                  <c:v>0.77029164097355185</c:v>
                </c:pt>
                <c:pt idx="667">
                  <c:v>0.7969835606932556</c:v>
                </c:pt>
                <c:pt idx="668">
                  <c:v>0.78726016007899213</c:v>
                </c:pt>
                <c:pt idx="669">
                  <c:v>0.76747806917411121</c:v>
                </c:pt>
                <c:pt idx="670">
                  <c:v>0.77820733881743653</c:v>
                </c:pt>
                <c:pt idx="671">
                  <c:v>0.80000116778044084</c:v>
                </c:pt>
                <c:pt idx="672">
                  <c:v>0.7473606885928763</c:v>
                </c:pt>
                <c:pt idx="673">
                  <c:v>0.81341275483459752</c:v>
                </c:pt>
                <c:pt idx="674">
                  <c:v>0.83084781800500107</c:v>
                </c:pt>
                <c:pt idx="675">
                  <c:v>0.78591900137357651</c:v>
                </c:pt>
                <c:pt idx="676">
                  <c:v>0.81441862386365926</c:v>
                </c:pt>
                <c:pt idx="677">
                  <c:v>0.84995932955717435</c:v>
                </c:pt>
                <c:pt idx="678">
                  <c:v>0.87376489657830214</c:v>
                </c:pt>
                <c:pt idx="679">
                  <c:v>0.93881109379096173</c:v>
                </c:pt>
                <c:pt idx="680">
                  <c:v>0.89116217521642271</c:v>
                </c:pt>
                <c:pt idx="681">
                  <c:v>0.91303737966848741</c:v>
                </c:pt>
                <c:pt idx="682">
                  <c:v>0.90294113145984212</c:v>
                </c:pt>
                <c:pt idx="683">
                  <c:v>0.90462383949461633</c:v>
                </c:pt>
                <c:pt idx="684">
                  <c:v>0.86625809630176431</c:v>
                </c:pt>
                <c:pt idx="685">
                  <c:v>0.753853199578847</c:v>
                </c:pt>
                <c:pt idx="686">
                  <c:v>0.7609205733248986</c:v>
                </c:pt>
                <c:pt idx="687">
                  <c:v>0.68923721104351732</c:v>
                </c:pt>
                <c:pt idx="688">
                  <c:v>0.6946218767547947</c:v>
                </c:pt>
                <c:pt idx="689">
                  <c:v>0.68822758622265268</c:v>
                </c:pt>
                <c:pt idx="690">
                  <c:v>0.64144830285592946</c:v>
                </c:pt>
                <c:pt idx="691">
                  <c:v>0.7141412899581755</c:v>
                </c:pt>
                <c:pt idx="692">
                  <c:v>0.82048843775590574</c:v>
                </c:pt>
                <c:pt idx="693">
                  <c:v>0.77404569599613748</c:v>
                </c:pt>
                <c:pt idx="694">
                  <c:v>0.80870948151248634</c:v>
                </c:pt>
                <c:pt idx="695">
                  <c:v>0.75688207404144048</c:v>
                </c:pt>
                <c:pt idx="696">
                  <c:v>0.72221828852509184</c:v>
                </c:pt>
                <c:pt idx="697">
                  <c:v>0.70269887532171083</c:v>
                </c:pt>
                <c:pt idx="698">
                  <c:v>0.69058337747133658</c:v>
                </c:pt>
                <c:pt idx="699">
                  <c:v>0.6946218767547947</c:v>
                </c:pt>
                <c:pt idx="700">
                  <c:v>0.78010344492132477</c:v>
                </c:pt>
                <c:pt idx="701">
                  <c:v>0.78010344492132477</c:v>
                </c:pt>
                <c:pt idx="702">
                  <c:v>0.76125711493185355</c:v>
                </c:pt>
                <c:pt idx="703">
                  <c:v>0.74005499369369832</c:v>
                </c:pt>
                <c:pt idx="704">
                  <c:v>0.72188174691813689</c:v>
                </c:pt>
                <c:pt idx="705">
                  <c:v>0.77505532081700212</c:v>
                </c:pt>
                <c:pt idx="706">
                  <c:v>0.76428598939444714</c:v>
                </c:pt>
                <c:pt idx="707">
                  <c:v>0.76125711493185355</c:v>
                </c:pt>
                <c:pt idx="708">
                  <c:v>0.68587179497396877</c:v>
                </c:pt>
                <c:pt idx="709">
                  <c:v>0.71043933228167233</c:v>
                </c:pt>
                <c:pt idx="710">
                  <c:v>0.70438158335648515</c:v>
                </c:pt>
                <c:pt idx="711">
                  <c:v>0.73433378637546609</c:v>
                </c:pt>
                <c:pt idx="712">
                  <c:v>0.72962220387809829</c:v>
                </c:pt>
                <c:pt idx="713">
                  <c:v>0.78952660991606038</c:v>
                </c:pt>
                <c:pt idx="714">
                  <c:v>0.79794015008993135</c:v>
                </c:pt>
                <c:pt idx="715">
                  <c:v>0.80029594133861537</c:v>
                </c:pt>
                <c:pt idx="716">
                  <c:v>0.77236298796136327</c:v>
                </c:pt>
                <c:pt idx="717">
                  <c:v>0.77438223760309244</c:v>
                </c:pt>
                <c:pt idx="718">
                  <c:v>0.7336607031615564</c:v>
                </c:pt>
                <c:pt idx="719">
                  <c:v>0.76260328135967292</c:v>
                </c:pt>
                <c:pt idx="720">
                  <c:v>0.78111306974218919</c:v>
                </c:pt>
                <c:pt idx="721">
                  <c:v>0.74577620101193076</c:v>
                </c:pt>
                <c:pt idx="722">
                  <c:v>0.74005499369369832</c:v>
                </c:pt>
                <c:pt idx="723">
                  <c:v>0.74005499369369832</c:v>
                </c:pt>
                <c:pt idx="724">
                  <c:v>0.7064008329982141</c:v>
                </c:pt>
                <c:pt idx="725">
                  <c:v>0.70438158335648515</c:v>
                </c:pt>
                <c:pt idx="726">
                  <c:v>0.74039153530065327</c:v>
                </c:pt>
                <c:pt idx="727">
                  <c:v>0.7484685338675694</c:v>
                </c:pt>
                <c:pt idx="728">
                  <c:v>0.72531844125071576</c:v>
                </c:pt>
                <c:pt idx="729">
                  <c:v>0.69709461067227718</c:v>
                </c:pt>
                <c:pt idx="730">
                  <c:v>0.60953272664880831</c:v>
                </c:pt>
                <c:pt idx="731">
                  <c:v>0.61854394966481585</c:v>
                </c:pt>
                <c:pt idx="732">
                  <c:v>0.65900944169896258</c:v>
                </c:pt>
                <c:pt idx="733">
                  <c:v>0.69811474912691962</c:v>
                </c:pt>
                <c:pt idx="734">
                  <c:v>0.7086561798248906</c:v>
                </c:pt>
                <c:pt idx="735">
                  <c:v>0.68655317997430632</c:v>
                </c:pt>
                <c:pt idx="736">
                  <c:v>0.6940341953083502</c:v>
                </c:pt>
                <c:pt idx="737">
                  <c:v>0.6940341953083502</c:v>
                </c:pt>
                <c:pt idx="738">
                  <c:v>0.72701867200845305</c:v>
                </c:pt>
                <c:pt idx="739">
                  <c:v>0.72225802588678867</c:v>
                </c:pt>
                <c:pt idx="740">
                  <c:v>0.68689322612585368</c:v>
                </c:pt>
                <c:pt idx="741">
                  <c:v>0.72939899506928518</c:v>
                </c:pt>
                <c:pt idx="742">
                  <c:v>0.78312628701378273</c:v>
                </c:pt>
                <c:pt idx="743">
                  <c:v>0.78550661007461475</c:v>
                </c:pt>
                <c:pt idx="744">
                  <c:v>0.83957394817065989</c:v>
                </c:pt>
                <c:pt idx="745">
                  <c:v>0.92084497839050072</c:v>
                </c:pt>
                <c:pt idx="746">
                  <c:v>0.86235704032433913</c:v>
                </c:pt>
                <c:pt idx="747">
                  <c:v>0.83787371741292249</c:v>
                </c:pt>
                <c:pt idx="748">
                  <c:v>0.87289847102231022</c:v>
                </c:pt>
                <c:pt idx="749">
                  <c:v>0.89013655110858214</c:v>
                </c:pt>
                <c:pt idx="750">
                  <c:v>0.87166330984806584</c:v>
                </c:pt>
                <c:pt idx="751">
                  <c:v>0.86208459215742783</c:v>
                </c:pt>
                <c:pt idx="752">
                  <c:v>0.91682012181821693</c:v>
                </c:pt>
                <c:pt idx="753">
                  <c:v>0.96710838969406676</c:v>
                </c:pt>
                <c:pt idx="754">
                  <c:v>1.0020022898528198</c:v>
                </c:pt>
                <c:pt idx="755">
                  <c:v>0.91545173357669718</c:v>
                </c:pt>
                <c:pt idx="756">
                  <c:v>0.86755814512350682</c:v>
                </c:pt>
                <c:pt idx="757">
                  <c:v>0.86755814512350682</c:v>
                </c:pt>
                <c:pt idx="758">
                  <c:v>0.83608521556855309</c:v>
                </c:pt>
                <c:pt idx="759">
                  <c:v>0.83916408911197249</c:v>
                </c:pt>
                <c:pt idx="760">
                  <c:v>0.84429554501767135</c:v>
                </c:pt>
                <c:pt idx="761">
                  <c:v>0.82855908024019431</c:v>
                </c:pt>
                <c:pt idx="762">
                  <c:v>0.82342762433449568</c:v>
                </c:pt>
                <c:pt idx="763">
                  <c:v>0.83437473026665343</c:v>
                </c:pt>
                <c:pt idx="764">
                  <c:v>0.80769115955701865</c:v>
                </c:pt>
                <c:pt idx="765">
                  <c:v>0.81795407136841658</c:v>
                </c:pt>
                <c:pt idx="766">
                  <c:v>0.88466299814250338</c:v>
                </c:pt>
                <c:pt idx="767">
                  <c:v>0.8829525128406035</c:v>
                </c:pt>
                <c:pt idx="768">
                  <c:v>0.86824233924426664</c:v>
                </c:pt>
                <c:pt idx="769">
                  <c:v>0.85592684507058903</c:v>
                </c:pt>
                <c:pt idx="770">
                  <c:v>0.79058630653802209</c:v>
                </c:pt>
                <c:pt idx="771">
                  <c:v>0.74542949456787111</c:v>
                </c:pt>
                <c:pt idx="772">
                  <c:v>0.75808708580192852</c:v>
                </c:pt>
                <c:pt idx="773">
                  <c:v>0.77313935645864573</c:v>
                </c:pt>
                <c:pt idx="774">
                  <c:v>0.7574028916811687</c:v>
                </c:pt>
                <c:pt idx="775">
                  <c:v>0.7847706565115633</c:v>
                </c:pt>
                <c:pt idx="776">
                  <c:v>0.74850836811129051</c:v>
                </c:pt>
                <c:pt idx="777">
                  <c:v>0.7392717474810323</c:v>
                </c:pt>
                <c:pt idx="778">
                  <c:v>0.79195469477954183</c:v>
                </c:pt>
                <c:pt idx="779">
                  <c:v>0.73756126217913265</c:v>
                </c:pt>
                <c:pt idx="780">
                  <c:v>0.75261353283584975</c:v>
                </c:pt>
                <c:pt idx="781">
                  <c:v>0.7115618855902579</c:v>
                </c:pt>
                <c:pt idx="782">
                  <c:v>0.71224607971101783</c:v>
                </c:pt>
                <c:pt idx="783">
                  <c:v>0.71737753561671669</c:v>
                </c:pt>
                <c:pt idx="784">
                  <c:v>0.74885046517167042</c:v>
                </c:pt>
                <c:pt idx="785">
                  <c:v>0.77724452118320475</c:v>
                </c:pt>
                <c:pt idx="786">
                  <c:v>0.83544566779326179</c:v>
                </c:pt>
                <c:pt idx="787">
                  <c:v>0.80594301645864308</c:v>
                </c:pt>
                <c:pt idx="788">
                  <c:v>0.79448904594049718</c:v>
                </c:pt>
                <c:pt idx="789">
                  <c:v>0.80524883642724043</c:v>
                </c:pt>
                <c:pt idx="790">
                  <c:v>0.80524883642724043</c:v>
                </c:pt>
                <c:pt idx="791">
                  <c:v>0.81357899680407397</c:v>
                </c:pt>
                <c:pt idx="792">
                  <c:v>0.81114936669416415</c:v>
                </c:pt>
                <c:pt idx="793">
                  <c:v>0.84620545828000504</c:v>
                </c:pt>
                <c:pt idx="794">
                  <c:v>0.87189011944190864</c:v>
                </c:pt>
                <c:pt idx="795">
                  <c:v>0.8625186890179708</c:v>
                </c:pt>
                <c:pt idx="796">
                  <c:v>0.84308164813869257</c:v>
                </c:pt>
                <c:pt idx="797">
                  <c:v>0.85765942879815127</c:v>
                </c:pt>
                <c:pt idx="798">
                  <c:v>0.86772503925349176</c:v>
                </c:pt>
                <c:pt idx="799">
                  <c:v>0.82017370710240034</c:v>
                </c:pt>
                <c:pt idx="800">
                  <c:v>0.85141180851552622</c:v>
                </c:pt>
                <c:pt idx="801">
                  <c:v>0.7878943356421706</c:v>
                </c:pt>
                <c:pt idx="802">
                  <c:v>0.73687210333406516</c:v>
                </c:pt>
                <c:pt idx="803">
                  <c:v>0.79407966487958304</c:v>
                </c:pt>
                <c:pt idx="804">
                  <c:v>0.80103917114496059</c:v>
                </c:pt>
                <c:pt idx="805">
                  <c:v>0.76554568919153487</c:v>
                </c:pt>
                <c:pt idx="806">
                  <c:v>0.80730272678380044</c:v>
                </c:pt>
                <c:pt idx="807">
                  <c:v>0.78851205986728101</c:v>
                </c:pt>
                <c:pt idx="808">
                  <c:v>0.78920801049381872</c:v>
                </c:pt>
                <c:pt idx="809">
                  <c:v>0.78120457828863454</c:v>
                </c:pt>
                <c:pt idx="810">
                  <c:v>0.80591082553072502</c:v>
                </c:pt>
                <c:pt idx="811">
                  <c:v>0.82122173931455567</c:v>
                </c:pt>
                <c:pt idx="812">
                  <c:v>0.79407966487958304</c:v>
                </c:pt>
                <c:pt idx="813">
                  <c:v>0.8361846777851174</c:v>
                </c:pt>
                <c:pt idx="814">
                  <c:v>0.84731988780972156</c:v>
                </c:pt>
                <c:pt idx="815">
                  <c:v>0.93222586424732812</c:v>
                </c:pt>
                <c:pt idx="816">
                  <c:v>0.95275640773019199</c:v>
                </c:pt>
                <c:pt idx="817">
                  <c:v>0.95275640773019199</c:v>
                </c:pt>
                <c:pt idx="818">
                  <c:v>0.99068571687649998</c:v>
                </c:pt>
                <c:pt idx="819">
                  <c:v>1.004952704720524</c:v>
                </c:pt>
                <c:pt idx="820">
                  <c:v>1.0042567540939862</c:v>
                </c:pt>
                <c:pt idx="821">
                  <c:v>0.97398290183959368</c:v>
                </c:pt>
                <c:pt idx="822">
                  <c:v>0.99903712439495307</c:v>
                </c:pt>
                <c:pt idx="823">
                  <c:v>0.99903712439495307</c:v>
                </c:pt>
                <c:pt idx="824">
                  <c:v>1.0731558661212244</c:v>
                </c:pt>
                <c:pt idx="825">
                  <c:v>1.1044736443154235</c:v>
                </c:pt>
                <c:pt idx="826">
                  <c:v>1.1277879903044381</c:v>
                </c:pt>
                <c:pt idx="827">
                  <c:v>1.2026026826572476</c:v>
                </c:pt>
                <c:pt idx="828">
                  <c:v>1.2332245102249089</c:v>
                </c:pt>
                <c:pt idx="829">
                  <c:v>1.285072831901972</c:v>
                </c:pt>
                <c:pt idx="830">
                  <c:v>1.1980790035847519</c:v>
                </c:pt>
                <c:pt idx="831">
                  <c:v>1.209910164235894</c:v>
                </c:pt>
                <c:pt idx="832">
                  <c:v>1.2659341896721836</c:v>
                </c:pt>
                <c:pt idx="833">
                  <c:v>1.279853202202939</c:v>
                </c:pt>
                <c:pt idx="834">
                  <c:v>1.2923803134806184</c:v>
                </c:pt>
                <c:pt idx="835">
                  <c:v>1.2029506579705165</c:v>
                </c:pt>
                <c:pt idx="836">
                  <c:v>1.2001668554643656</c:v>
                </c:pt>
                <c:pt idx="837">
                  <c:v>1.207126361729743</c:v>
                </c:pt>
                <c:pt idx="838">
                  <c:v>1.207126361729743</c:v>
                </c:pt>
                <c:pt idx="839">
                  <c:v>1.1733727563426617</c:v>
                </c:pt>
                <c:pt idx="840">
                  <c:v>1.2081702876695495</c:v>
                </c:pt>
                <c:pt idx="841">
                  <c:v>1.1389232003290424</c:v>
                </c:pt>
                <c:pt idx="842">
                  <c:v>1.1737207316559304</c:v>
                </c:pt>
                <c:pt idx="843">
                  <c:v>1.2367042633575978</c:v>
                </c:pt>
                <c:pt idx="844">
                  <c:v>1.1949472257653324</c:v>
                </c:pt>
                <c:pt idx="845">
                  <c:v>1.2517129763566206</c:v>
                </c:pt>
                <c:pt idx="846">
                  <c:v>1.2137822801033897</c:v>
                </c:pt>
                <c:pt idx="847">
                  <c:v>1.2137822801033897</c:v>
                </c:pt>
                <c:pt idx="848">
                  <c:v>1.2141367725917376</c:v>
                </c:pt>
                <c:pt idx="849">
                  <c:v>1.1967666406626878</c:v>
                </c:pt>
                <c:pt idx="850">
                  <c:v>1.1974756256393839</c:v>
                </c:pt>
                <c:pt idx="851">
                  <c:v>1.2417871866828778</c:v>
                </c:pt>
                <c:pt idx="852">
                  <c:v>1.2754639730759334</c:v>
                </c:pt>
                <c:pt idx="853">
                  <c:v>1.2697920932623659</c:v>
                </c:pt>
                <c:pt idx="854">
                  <c:v>1.3102042369340328</c:v>
                </c:pt>
                <c:pt idx="855">
                  <c:v>1.292834105004983</c:v>
                </c:pt>
                <c:pt idx="856">
                  <c:v>1.325092921444647</c:v>
                </c:pt>
                <c:pt idx="857">
                  <c:v>1.3399816059552607</c:v>
                </c:pt>
                <c:pt idx="858">
                  <c:v>1.3920920017424097</c:v>
                </c:pt>
                <c:pt idx="859">
                  <c:v>1.3233204590029071</c:v>
                </c:pt>
                <c:pt idx="860">
                  <c:v>1.3112677143990765</c:v>
                </c:pt>
                <c:pt idx="861">
                  <c:v>1.2779454204943688</c:v>
                </c:pt>
                <c:pt idx="862">
                  <c:v>1.3052413420971611</c:v>
                </c:pt>
                <c:pt idx="863">
                  <c:v>1.2352523098791754</c:v>
                </c:pt>
                <c:pt idx="864">
                  <c:v>1.2103766879886284</c:v>
                </c:pt>
                <c:pt idx="865">
                  <c:v>1.2242359630419331</c:v>
                </c:pt>
                <c:pt idx="866">
                  <c:v>1.2274342572850037</c:v>
                </c:pt>
                <c:pt idx="867">
                  <c:v>1.1798152096659558</c:v>
                </c:pt>
                <c:pt idx="868">
                  <c:v>1.1023454157782515</c:v>
                </c:pt>
                <c:pt idx="869">
                  <c:v>1.2814498933901919</c:v>
                </c:pt>
                <c:pt idx="870">
                  <c:v>1.2398720682302771</c:v>
                </c:pt>
                <c:pt idx="871">
                  <c:v>1.2253020611229564</c:v>
                </c:pt>
                <c:pt idx="872">
                  <c:v>1.2295664534470505</c:v>
                </c:pt>
                <c:pt idx="873">
                  <c:v>1.1997157071783935</c:v>
                </c:pt>
                <c:pt idx="874">
                  <c:v>1.2004264392324093</c:v>
                </c:pt>
                <c:pt idx="875">
                  <c:v>1.2082444918265813</c:v>
                </c:pt>
                <c:pt idx="876">
                  <c:v>1.1883439943141432</c:v>
                </c:pt>
                <c:pt idx="877">
                  <c:v>1.1783937455579245</c:v>
                </c:pt>
                <c:pt idx="878">
                  <c:v>1.1673773987206821</c:v>
                </c:pt>
                <c:pt idx="879">
                  <c:v>1.1357498223169864</c:v>
                </c:pt>
                <c:pt idx="880">
                  <c:v>1.1425017768301351</c:v>
                </c:pt>
                <c:pt idx="881">
                  <c:v>1.1545842217484008</c:v>
                </c:pt>
                <c:pt idx="882">
                  <c:v>1.1520966595593463</c:v>
                </c:pt>
                <c:pt idx="883">
                  <c:v>1.2039800995024876</c:v>
                </c:pt>
                <c:pt idx="884">
                  <c:v>1.1506751954513148</c:v>
                </c:pt>
                <c:pt idx="885">
                  <c:v>1.1520966595593463</c:v>
                </c:pt>
                <c:pt idx="886">
                  <c:v>1.1311300639658848</c:v>
                </c:pt>
                <c:pt idx="887">
                  <c:v>1.1581378820184789</c:v>
                </c:pt>
                <c:pt idx="888">
                  <c:v>1.1609808102345416</c:v>
                </c:pt>
                <c:pt idx="889">
                  <c:v>1.17590618336887</c:v>
                </c:pt>
                <c:pt idx="890">
                  <c:v>1.1815920398009949</c:v>
                </c:pt>
                <c:pt idx="891">
                  <c:v>1.1815920398009949</c:v>
                </c:pt>
                <c:pt idx="892">
                  <c:v>1.1990049751243781</c:v>
                </c:pt>
                <c:pt idx="893">
                  <c:v>1.1847903340440655</c:v>
                </c:pt>
                <c:pt idx="894">
                  <c:v>1.1581378820184789</c:v>
                </c:pt>
                <c:pt idx="895">
                  <c:v>1.1478322672352523</c:v>
                </c:pt>
                <c:pt idx="896">
                  <c:v>1.2189054726368158</c:v>
                </c:pt>
                <c:pt idx="897">
                  <c:v>1.1926083866382375</c:v>
                </c:pt>
                <c:pt idx="898">
                  <c:v>1.1922530206112294</c:v>
                </c:pt>
                <c:pt idx="899">
                  <c:v>1.1904761904761905</c:v>
                </c:pt>
                <c:pt idx="900">
                  <c:v>1.1435678749111584</c:v>
                </c:pt>
                <c:pt idx="901">
                  <c:v>1.1613361762615493</c:v>
                </c:pt>
                <c:pt idx="902">
                  <c:v>1.1297085998578535</c:v>
                </c:pt>
                <c:pt idx="903">
                  <c:v>1.099857853589197</c:v>
                </c:pt>
                <c:pt idx="904">
                  <c:v>1.0451314854299927</c:v>
                </c:pt>
                <c:pt idx="905">
                  <c:v>1.0451314854299927</c:v>
                </c:pt>
                <c:pt idx="906">
                  <c:v>1.0525941719971572</c:v>
                </c:pt>
                <c:pt idx="907">
                  <c:v>1.0095948827292109</c:v>
                </c:pt>
                <c:pt idx="908">
                  <c:v>1.0394456289978677</c:v>
                </c:pt>
                <c:pt idx="909">
                  <c:v>1.0270078180525941</c:v>
                </c:pt>
                <c:pt idx="910">
                  <c:v>1.0788912579957355</c:v>
                </c:pt>
                <c:pt idx="911">
                  <c:v>1.1147832267235254</c:v>
                </c:pt>
                <c:pt idx="912">
                  <c:v>1.1194029850746268</c:v>
                </c:pt>
                <c:pt idx="913">
                  <c:v>1.0977256574271499</c:v>
                </c:pt>
                <c:pt idx="914">
                  <c:v>1.0419331911869225</c:v>
                </c:pt>
                <c:pt idx="915">
                  <c:v>1.0788912579957355</c:v>
                </c:pt>
                <c:pt idx="916">
                  <c:v>1.0849324804548686</c:v>
                </c:pt>
                <c:pt idx="917">
                  <c:v>1.0554371002132195</c:v>
                </c:pt>
                <c:pt idx="918">
                  <c:v>1.0597014925373134</c:v>
                </c:pt>
                <c:pt idx="919">
                  <c:v>1.0170575692963753</c:v>
                </c:pt>
                <c:pt idx="920">
                  <c:v>1</c:v>
                </c:pt>
                <c:pt idx="921">
                  <c:v>1</c:v>
                </c:pt>
              </c:numCache>
            </c:numRef>
          </c:val>
          <c:smooth val="0"/>
          <c:extLst>
            <c:ext xmlns:c16="http://schemas.microsoft.com/office/drawing/2014/chart" uri="{C3380CC4-5D6E-409C-BE32-E72D297353CC}">
              <c16:uniqueId val="{00000001-B9B2-4D69-9144-C8D4670E5D4F}"/>
            </c:ext>
          </c:extLst>
        </c:ser>
        <c:ser>
          <c:idx val="2"/>
          <c:order val="2"/>
          <c:tx>
            <c:strRef>
              <c:f>Sheet3!$T$1</c:f>
              <c:strCache>
                <c:ptCount val="1"/>
                <c:pt idx="0">
                  <c:v>ELASTIC</c:v>
                </c:pt>
              </c:strCache>
            </c:strRef>
          </c:tx>
          <c:spPr>
            <a:ln w="28575" cap="rnd">
              <a:solidFill>
                <a:schemeClr val="accent1">
                  <a:shade val="82000"/>
                </a:schemeClr>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T$2:$T$1410</c:f>
              <c:numCache>
                <c:formatCode>General</c:formatCode>
                <c:ptCount val="1409"/>
                <c:pt idx="0">
                  <c:v>0.68218441951751141</c:v>
                </c:pt>
                <c:pt idx="1">
                  <c:v>0.68519146438238565</c:v>
                </c:pt>
                <c:pt idx="2">
                  <c:v>0.70313004236939425</c:v>
                </c:pt>
                <c:pt idx="3">
                  <c:v>0.71961694352508421</c:v>
                </c:pt>
                <c:pt idx="4">
                  <c:v>0.72345351800785473</c:v>
                </c:pt>
                <c:pt idx="5">
                  <c:v>0.71930586991837309</c:v>
                </c:pt>
                <c:pt idx="6">
                  <c:v>0.71775050188481726</c:v>
                </c:pt>
                <c:pt idx="7">
                  <c:v>0.71225486816625405</c:v>
                </c:pt>
                <c:pt idx="8">
                  <c:v>0.7327857262091888</c:v>
                </c:pt>
                <c:pt idx="9">
                  <c:v>0.74139209599486333</c:v>
                </c:pt>
                <c:pt idx="10">
                  <c:v>0.74522867047763397</c:v>
                </c:pt>
                <c:pt idx="11">
                  <c:v>0.73071190216444781</c:v>
                </c:pt>
                <c:pt idx="12">
                  <c:v>0.73071190216444781</c:v>
                </c:pt>
                <c:pt idx="13">
                  <c:v>0.72926022533312929</c:v>
                </c:pt>
                <c:pt idx="14">
                  <c:v>0.71463976581770605</c:v>
                </c:pt>
                <c:pt idx="15">
                  <c:v>0.70541124881860928</c:v>
                </c:pt>
                <c:pt idx="16">
                  <c:v>0.68721245056952729</c:v>
                </c:pt>
                <c:pt idx="17">
                  <c:v>0.73159273554523874</c:v>
                </c:pt>
                <c:pt idx="18">
                  <c:v>0.7046288271793808</c:v>
                </c:pt>
                <c:pt idx="19">
                  <c:v>0.72456323414246637</c:v>
                </c:pt>
                <c:pt idx="20">
                  <c:v>0.73022880243723798</c:v>
                </c:pt>
                <c:pt idx="21">
                  <c:v>0.75016320940032355</c:v>
                </c:pt>
                <c:pt idx="22">
                  <c:v>0.75016320940032355</c:v>
                </c:pt>
                <c:pt idx="23">
                  <c:v>0.75761238252863439</c:v>
                </c:pt>
                <c:pt idx="24">
                  <c:v>0.75687795700894189</c:v>
                </c:pt>
                <c:pt idx="25">
                  <c:v>0.76180909978402089</c:v>
                </c:pt>
                <c:pt idx="26">
                  <c:v>0.76180909978402089</c:v>
                </c:pt>
                <c:pt idx="27">
                  <c:v>0.76799925773571587</c:v>
                </c:pt>
                <c:pt idx="28">
                  <c:v>0.77177630326556368</c:v>
                </c:pt>
                <c:pt idx="29">
                  <c:v>0.77198613912833303</c:v>
                </c:pt>
                <c:pt idx="30">
                  <c:v>0.76359270461756013</c:v>
                </c:pt>
                <c:pt idx="31">
                  <c:v>0.74806485077263041</c:v>
                </c:pt>
                <c:pt idx="32">
                  <c:v>0.69403211610953019</c:v>
                </c:pt>
                <c:pt idx="33">
                  <c:v>0.66937640223413497</c:v>
                </c:pt>
                <c:pt idx="34">
                  <c:v>0.75467468044986408</c:v>
                </c:pt>
                <c:pt idx="35">
                  <c:v>0.77492384120710345</c:v>
                </c:pt>
                <c:pt idx="36">
                  <c:v>0.76453698039339368</c:v>
                </c:pt>
                <c:pt idx="37">
                  <c:v>0.71124852162800323</c:v>
                </c:pt>
                <c:pt idx="38">
                  <c:v>0.7549723852303748</c:v>
                </c:pt>
                <c:pt idx="39">
                  <c:v>0.75528770155443059</c:v>
                </c:pt>
                <c:pt idx="40">
                  <c:v>0.6741463008307983</c:v>
                </c:pt>
                <c:pt idx="41">
                  <c:v>0.58711899539146239</c:v>
                </c:pt>
                <c:pt idx="42">
                  <c:v>0.60961155984075943</c:v>
                </c:pt>
                <c:pt idx="43">
                  <c:v>0.55495673033779458</c:v>
                </c:pt>
                <c:pt idx="44">
                  <c:v>0.51249413203164529</c:v>
                </c:pt>
                <c:pt idx="45">
                  <c:v>0.5415032338447574</c:v>
                </c:pt>
                <c:pt idx="46">
                  <c:v>0.47686338741336637</c:v>
                </c:pt>
                <c:pt idx="47">
                  <c:v>0.48096249962608872</c:v>
                </c:pt>
                <c:pt idx="48">
                  <c:v>0.46372520724438454</c:v>
                </c:pt>
                <c:pt idx="49">
                  <c:v>0.50629291099188589</c:v>
                </c:pt>
                <c:pt idx="50">
                  <c:v>0.52510678499386787</c:v>
                </c:pt>
                <c:pt idx="51">
                  <c:v>0.51217881570758961</c:v>
                </c:pt>
                <c:pt idx="52">
                  <c:v>0.57807992743520287</c:v>
                </c:pt>
                <c:pt idx="53">
                  <c:v>0.59153342392824027</c:v>
                </c:pt>
                <c:pt idx="54">
                  <c:v>0.59289979466581433</c:v>
                </c:pt>
                <c:pt idx="55">
                  <c:v>0.56357537652864675</c:v>
                </c:pt>
                <c:pt idx="56">
                  <c:v>0.58533220288848087</c:v>
                </c:pt>
                <c:pt idx="57">
                  <c:v>0.58659346818470304</c:v>
                </c:pt>
                <c:pt idx="58">
                  <c:v>0.54329002634773882</c:v>
                </c:pt>
                <c:pt idx="59">
                  <c:v>0.51070733952866376</c:v>
                </c:pt>
                <c:pt idx="60">
                  <c:v>0.49809468656644118</c:v>
                </c:pt>
                <c:pt idx="61">
                  <c:v>0.54402576443720174</c:v>
                </c:pt>
                <c:pt idx="62">
                  <c:v>0.58564751921253633</c:v>
                </c:pt>
                <c:pt idx="63">
                  <c:v>0.56756938330001738</c:v>
                </c:pt>
                <c:pt idx="64">
                  <c:v>0.56756938330001738</c:v>
                </c:pt>
                <c:pt idx="65">
                  <c:v>0.56683364521055435</c:v>
                </c:pt>
                <c:pt idx="66">
                  <c:v>0.59647337967177749</c:v>
                </c:pt>
                <c:pt idx="67">
                  <c:v>0.61034729793022235</c:v>
                </c:pt>
                <c:pt idx="68">
                  <c:v>0.61486683190835212</c:v>
                </c:pt>
                <c:pt idx="69">
                  <c:v>0.64503209357633451</c:v>
                </c:pt>
                <c:pt idx="70">
                  <c:v>0.64408614460416791</c:v>
                </c:pt>
                <c:pt idx="71">
                  <c:v>0.61549746455646326</c:v>
                </c:pt>
                <c:pt idx="72">
                  <c:v>0.63357560046898231</c:v>
                </c:pt>
                <c:pt idx="73">
                  <c:v>0.63052754266977862</c:v>
                </c:pt>
                <c:pt idx="74">
                  <c:v>0.64271977386659374</c:v>
                </c:pt>
                <c:pt idx="75">
                  <c:v>0.65365073976718668</c:v>
                </c:pt>
                <c:pt idx="76">
                  <c:v>0.6379900290057603</c:v>
                </c:pt>
                <c:pt idx="77">
                  <c:v>0.66857571243915015</c:v>
                </c:pt>
                <c:pt idx="78">
                  <c:v>0.68352072610427961</c:v>
                </c:pt>
                <c:pt idx="79">
                  <c:v>0.69844010584462879</c:v>
                </c:pt>
                <c:pt idx="80">
                  <c:v>0.75204330591173996</c:v>
                </c:pt>
                <c:pt idx="81">
                  <c:v>0.76429851069845534</c:v>
                </c:pt>
                <c:pt idx="82">
                  <c:v>0.76323284071700204</c:v>
                </c:pt>
                <c:pt idx="83">
                  <c:v>0.75257614090246694</c:v>
                </c:pt>
                <c:pt idx="84">
                  <c:v>0.73691079217510036</c:v>
                </c:pt>
                <c:pt idx="85">
                  <c:v>0.74426391504712952</c:v>
                </c:pt>
                <c:pt idx="86">
                  <c:v>0.75289584189690295</c:v>
                </c:pt>
                <c:pt idx="87">
                  <c:v>0.76195403673925777</c:v>
                </c:pt>
                <c:pt idx="88">
                  <c:v>0.78763668329228709</c:v>
                </c:pt>
                <c:pt idx="89">
                  <c:v>0.80426113500296192</c:v>
                </c:pt>
                <c:pt idx="90">
                  <c:v>0.81470470082120627</c:v>
                </c:pt>
                <c:pt idx="91">
                  <c:v>0.88951473351924248</c:v>
                </c:pt>
                <c:pt idx="92">
                  <c:v>0.88951473351924248</c:v>
                </c:pt>
                <c:pt idx="93">
                  <c:v>0.90528664924475444</c:v>
                </c:pt>
                <c:pt idx="94">
                  <c:v>0.85924970604596285</c:v>
                </c:pt>
                <c:pt idx="95">
                  <c:v>0.87065237484751545</c:v>
                </c:pt>
                <c:pt idx="96">
                  <c:v>0.91562364806485341</c:v>
                </c:pt>
                <c:pt idx="97">
                  <c:v>0.95547970537121463</c:v>
                </c:pt>
                <c:pt idx="98">
                  <c:v>0.94567554154184219</c:v>
                </c:pt>
                <c:pt idx="99">
                  <c:v>0.95132359244354581</c:v>
                </c:pt>
                <c:pt idx="100">
                  <c:v>0.91487767907783579</c:v>
                </c:pt>
                <c:pt idx="101">
                  <c:v>0.92606721388309798</c:v>
                </c:pt>
                <c:pt idx="102">
                  <c:v>0.87587415775663757</c:v>
                </c:pt>
                <c:pt idx="103">
                  <c:v>0.87331654980114926</c:v>
                </c:pt>
                <c:pt idx="104">
                  <c:v>0.87374281779373053</c:v>
                </c:pt>
                <c:pt idx="105">
                  <c:v>0.84294495532972424</c:v>
                </c:pt>
                <c:pt idx="106">
                  <c:v>0.88972786751553312</c:v>
                </c:pt>
                <c:pt idx="107">
                  <c:v>0.91871409101106849</c:v>
                </c:pt>
                <c:pt idx="108">
                  <c:v>0.92990362581633057</c:v>
                </c:pt>
                <c:pt idx="109">
                  <c:v>0.93491227472916194</c:v>
                </c:pt>
                <c:pt idx="110">
                  <c:v>0.95388120039903446</c:v>
                </c:pt>
                <c:pt idx="111">
                  <c:v>0.96624297218389499</c:v>
                </c:pt>
                <c:pt idx="112">
                  <c:v>1.0252436108514014</c:v>
                </c:pt>
                <c:pt idx="113">
                  <c:v>1.0185527089297222</c:v>
                </c:pt>
                <c:pt idx="114">
                  <c:v>0.99979624616567075</c:v>
                </c:pt>
                <c:pt idx="115">
                  <c:v>1.0064871480873498</c:v>
                </c:pt>
                <c:pt idx="116">
                  <c:v>1.0114230593410478</c:v>
                </c:pt>
                <c:pt idx="117">
                  <c:v>1.0389544754450062</c:v>
                </c:pt>
                <c:pt idx="118">
                  <c:v>1.0374188586105226</c:v>
                </c:pt>
                <c:pt idx="119">
                  <c:v>1.0374188586105226</c:v>
                </c:pt>
                <c:pt idx="120">
                  <c:v>1.0260114192686431</c:v>
                </c:pt>
                <c:pt idx="121">
                  <c:v>1.0235983071001686</c:v>
                </c:pt>
                <c:pt idx="122">
                  <c:v>1.0594659288770394</c:v>
                </c:pt>
                <c:pt idx="123">
                  <c:v>1.0784417654745886</c:v>
                </c:pt>
                <c:pt idx="124">
                  <c:v>1.044548508199197</c:v>
                </c:pt>
                <c:pt idx="125">
                  <c:v>0.983891643237089</c:v>
                </c:pt>
                <c:pt idx="126">
                  <c:v>0.97544575064742844</c:v>
                </c:pt>
                <c:pt idx="127">
                  <c:v>0.98454976473758193</c:v>
                </c:pt>
                <c:pt idx="128">
                  <c:v>0.96985171789323743</c:v>
                </c:pt>
                <c:pt idx="129">
                  <c:v>0.9911309797425123</c:v>
                </c:pt>
                <c:pt idx="130">
                  <c:v>1.0198689519307083</c:v>
                </c:pt>
                <c:pt idx="131">
                  <c:v>1.0058290265868568</c:v>
                </c:pt>
                <c:pt idx="132">
                  <c:v>1.0073646434213406</c:v>
                </c:pt>
                <c:pt idx="133">
                  <c:v>1.0019899845006475</c:v>
                </c:pt>
                <c:pt idx="134">
                  <c:v>0.97423919456319108</c:v>
                </c:pt>
                <c:pt idx="135">
                  <c:v>0.99200847507650303</c:v>
                </c:pt>
                <c:pt idx="136">
                  <c:v>0.98586600773856803</c:v>
                </c:pt>
                <c:pt idx="137">
                  <c:v>1.0246951762676573</c:v>
                </c:pt>
                <c:pt idx="138">
                  <c:v>1.037857606277518</c:v>
                </c:pt>
                <c:pt idx="139">
                  <c:v>1.0607062260995692</c:v>
                </c:pt>
                <c:pt idx="140">
                  <c:v>1.0797832795474565</c:v>
                </c:pt>
                <c:pt idx="141">
                  <c:v>1.0549720828666782</c:v>
                </c:pt>
                <c:pt idx="142">
                  <c:v>1.0446065162533755</c:v>
                </c:pt>
                <c:pt idx="143">
                  <c:v>1.0090989370035512</c:v>
                </c:pt>
                <c:pt idx="144">
                  <c:v>0.94117139409084338</c:v>
                </c:pt>
                <c:pt idx="145">
                  <c:v>0.92562304417088925</c:v>
                </c:pt>
                <c:pt idx="146">
                  <c:v>0.92463059630365796</c:v>
                </c:pt>
                <c:pt idx="147">
                  <c:v>0.96024844753873029</c:v>
                </c:pt>
                <c:pt idx="148">
                  <c:v>0.98869861973268913</c:v>
                </c:pt>
                <c:pt idx="149">
                  <c:v>1.0086578490625595</c:v>
                </c:pt>
                <c:pt idx="150">
                  <c:v>1.0216699433218119</c:v>
                </c:pt>
                <c:pt idx="151">
                  <c:v>1.0313738780236272</c:v>
                </c:pt>
                <c:pt idx="152">
                  <c:v>1.0729464164620863</c:v>
                </c:pt>
                <c:pt idx="153">
                  <c:v>1.1796896981820555</c:v>
                </c:pt>
                <c:pt idx="154">
                  <c:v>1.1682214117162735</c:v>
                </c:pt>
                <c:pt idx="155">
                  <c:v>1.1396609675370668</c:v>
                </c:pt>
                <c:pt idx="156">
                  <c:v>1.1504676220913614</c:v>
                </c:pt>
                <c:pt idx="157">
                  <c:v>1.2458528893307967</c:v>
                </c:pt>
                <c:pt idx="158">
                  <c:v>1.2257833880156783</c:v>
                </c:pt>
                <c:pt idx="159">
                  <c:v>1.2172924451515899</c:v>
                </c:pt>
                <c:pt idx="160">
                  <c:v>1.2047962671943211</c:v>
                </c:pt>
                <c:pt idx="161">
                  <c:v>1.2196648157119154</c:v>
                </c:pt>
                <c:pt idx="162">
                  <c:v>1.1804961767066109</c:v>
                </c:pt>
                <c:pt idx="163">
                  <c:v>1.1308973618755314</c:v>
                </c:pt>
                <c:pt idx="164">
                  <c:v>1.1111466033969359</c:v>
                </c:pt>
                <c:pt idx="165">
                  <c:v>1.1111466033969359</c:v>
                </c:pt>
                <c:pt idx="166">
                  <c:v>1.1071520679742988</c:v>
                </c:pt>
                <c:pt idx="167">
                  <c:v>1.1324507923176681</c:v>
                </c:pt>
                <c:pt idx="168">
                  <c:v>1.1304535246063494</c:v>
                </c:pt>
                <c:pt idx="169">
                  <c:v>1.1183589590211422</c:v>
                </c:pt>
                <c:pt idx="170">
                  <c:v>1.1392193106726924</c:v>
                </c:pt>
                <c:pt idx="171">
                  <c:v>1.1513138762578998</c:v>
                </c:pt>
                <c:pt idx="172">
                  <c:v>1.177278356505042</c:v>
                </c:pt>
                <c:pt idx="173">
                  <c:v>1.1350028566154644</c:v>
                </c:pt>
                <c:pt idx="174">
                  <c:v>1.1451001544893529</c:v>
                </c:pt>
                <c:pt idx="175">
                  <c:v>1.2033537960694798</c:v>
                </c:pt>
                <c:pt idx="176">
                  <c:v>1.2014674876754567</c:v>
                </c:pt>
                <c:pt idx="177">
                  <c:v>1.1681796924868126</c:v>
                </c:pt>
                <c:pt idx="178">
                  <c:v>1.1618550114009703</c:v>
                </c:pt>
                <c:pt idx="179">
                  <c:v>1.1804961767066109</c:v>
                </c:pt>
                <c:pt idx="180">
                  <c:v>1.2067935349056398</c:v>
                </c:pt>
                <c:pt idx="181">
                  <c:v>1.2035757147040707</c:v>
                </c:pt>
                <c:pt idx="182">
                  <c:v>1.1971400743009328</c:v>
                </c:pt>
                <c:pt idx="183">
                  <c:v>1.3570324505237195</c:v>
                </c:pt>
                <c:pt idx="184">
                  <c:v>1.3869914661934992</c:v>
                </c:pt>
                <c:pt idx="185">
                  <c:v>1.3943147811350007</c:v>
                </c:pt>
                <c:pt idx="186">
                  <c:v>1.3774489649060877</c:v>
                </c:pt>
                <c:pt idx="187">
                  <c:v>1.333065237987896</c:v>
                </c:pt>
                <c:pt idx="188">
                  <c:v>1.3368378547759423</c:v>
                </c:pt>
                <c:pt idx="189">
                  <c:v>1.3237446553350756</c:v>
                </c:pt>
                <c:pt idx="190">
                  <c:v>1.3002212800684341</c:v>
                </c:pt>
                <c:pt idx="191">
                  <c:v>1.2677102001008582</c:v>
                </c:pt>
                <c:pt idx="192">
                  <c:v>1.2148935650682096</c:v>
                </c:pt>
                <c:pt idx="193">
                  <c:v>1.2094565585207311</c:v>
                </c:pt>
                <c:pt idx="194">
                  <c:v>1.1811619326103837</c:v>
                </c:pt>
                <c:pt idx="195">
                  <c:v>1.1972510336182285</c:v>
                </c:pt>
                <c:pt idx="196">
                  <c:v>1.1766126006012692</c:v>
                </c:pt>
                <c:pt idx="197">
                  <c:v>1.1678468145349263</c:v>
                </c:pt>
                <c:pt idx="198">
                  <c:v>1.125238436693462</c:v>
                </c:pt>
                <c:pt idx="199">
                  <c:v>1.1130681100745301</c:v>
                </c:pt>
                <c:pt idx="200">
                  <c:v>1.1213678924350217</c:v>
                </c:pt>
                <c:pt idx="201">
                  <c:v>1.211207428526285</c:v>
                </c:pt>
                <c:pt idx="202">
                  <c:v>1.2813069417061098</c:v>
                </c:pt>
                <c:pt idx="203">
                  <c:v>1.2617912372368465</c:v>
                </c:pt>
                <c:pt idx="204">
                  <c:v>1.176886706873443</c:v>
                </c:pt>
                <c:pt idx="205">
                  <c:v>1.1400984823566707</c:v>
                </c:pt>
                <c:pt idx="206">
                  <c:v>1.1328081329859689</c:v>
                </c:pt>
                <c:pt idx="207">
                  <c:v>1.1362850688396884</c:v>
                </c:pt>
                <c:pt idx="208">
                  <c:v>1.1471645132851971</c:v>
                </c:pt>
                <c:pt idx="209">
                  <c:v>1.1400984823566707</c:v>
                </c:pt>
                <c:pt idx="210">
                  <c:v>1.1607357790368111</c:v>
                </c:pt>
                <c:pt idx="211">
                  <c:v>1.16914772061839</c:v>
                </c:pt>
                <c:pt idx="212">
                  <c:v>1.2140114090534782</c:v>
                </c:pt>
                <c:pt idx="213">
                  <c:v>1.2669505614068817</c:v>
                </c:pt>
                <c:pt idx="214">
                  <c:v>1.3026171937127764</c:v>
                </c:pt>
                <c:pt idx="215">
                  <c:v>1.2981308248692678</c:v>
                </c:pt>
                <c:pt idx="216">
                  <c:v>1.3367135969234436</c:v>
                </c:pt>
                <c:pt idx="217">
                  <c:v>1.3367135969234436</c:v>
                </c:pt>
                <c:pt idx="218">
                  <c:v>1.3392932590084607</c:v>
                </c:pt>
                <c:pt idx="219">
                  <c:v>1.3916944385213819</c:v>
                </c:pt>
                <c:pt idx="220">
                  <c:v>1.3579700175555971</c:v>
                </c:pt>
                <c:pt idx="221">
                  <c:v>1.3478526912658619</c:v>
                </c:pt>
                <c:pt idx="222">
                  <c:v>1.5175989434603112</c:v>
                </c:pt>
                <c:pt idx="223">
                  <c:v>1.6106783453258773</c:v>
                </c:pt>
                <c:pt idx="224">
                  <c:v>1.5903312780098535</c:v>
                </c:pt>
                <c:pt idx="225">
                  <c:v>1.6393441031467941</c:v>
                </c:pt>
                <c:pt idx="226">
                  <c:v>1.5545833917861218</c:v>
                </c:pt>
                <c:pt idx="227">
                  <c:v>1.5970761622030105</c:v>
                </c:pt>
                <c:pt idx="228">
                  <c:v>1.5904436927464061</c:v>
                </c:pt>
                <c:pt idx="229">
                  <c:v>1.5681855749089884</c:v>
                </c:pt>
                <c:pt idx="230">
                  <c:v>1.5477260928564123</c:v>
                </c:pt>
                <c:pt idx="231">
                  <c:v>1.6130390547934821</c:v>
                </c:pt>
                <c:pt idx="232">
                  <c:v>1.6584546083607388</c:v>
                </c:pt>
                <c:pt idx="233">
                  <c:v>1.7261282797654136</c:v>
                </c:pt>
                <c:pt idx="234">
                  <c:v>1.7560305996884091</c:v>
                </c:pt>
                <c:pt idx="235">
                  <c:v>1.7882936290790099</c:v>
                </c:pt>
                <c:pt idx="236">
                  <c:v>1.7652486080857239</c:v>
                </c:pt>
                <c:pt idx="237">
                  <c:v>1.7535574754842516</c:v>
                </c:pt>
                <c:pt idx="238">
                  <c:v>1.7535574754842516</c:v>
                </c:pt>
                <c:pt idx="239">
                  <c:v>1.7120764376963362</c:v>
                </c:pt>
                <c:pt idx="240">
                  <c:v>1.6622767094035276</c:v>
                </c:pt>
                <c:pt idx="241">
                  <c:v>1.6662112251828691</c:v>
                </c:pt>
                <c:pt idx="242">
                  <c:v>1.6427165452433725</c:v>
                </c:pt>
                <c:pt idx="243">
                  <c:v>1.5902188632733012</c:v>
                </c:pt>
                <c:pt idx="244">
                  <c:v>1.6341730252653737</c:v>
                </c:pt>
                <c:pt idx="245">
                  <c:v>1.5964016737836948</c:v>
                </c:pt>
                <c:pt idx="246">
                  <c:v>1.6911672966975499</c:v>
                </c:pt>
                <c:pt idx="247">
                  <c:v>1.7103902166480474</c:v>
                </c:pt>
                <c:pt idx="248">
                  <c:v>1.6848720714506034</c:v>
                </c:pt>
                <c:pt idx="249">
                  <c:v>1.6951018124768913</c:v>
                </c:pt>
                <c:pt idx="250">
                  <c:v>1.6877948546009713</c:v>
                </c:pt>
                <c:pt idx="251">
                  <c:v>1.7255662060826502</c:v>
                </c:pt>
                <c:pt idx="252">
                  <c:v>1.8324726205441879</c:v>
                </c:pt>
                <c:pt idx="253">
                  <c:v>1.8324726205441879</c:v>
                </c:pt>
                <c:pt idx="254">
                  <c:v>1.9071160056151248</c:v>
                </c:pt>
                <c:pt idx="255">
                  <c:v>1.8950876288039951</c:v>
                </c:pt>
                <c:pt idx="256">
                  <c:v>1.9255520224097533</c:v>
                </c:pt>
                <c:pt idx="257">
                  <c:v>1.9007083656316257</c:v>
                </c:pt>
                <c:pt idx="258">
                  <c:v>1.8503465636560534</c:v>
                </c:pt>
                <c:pt idx="259">
                  <c:v>1.7692955386016178</c:v>
                </c:pt>
                <c:pt idx="260">
                  <c:v>1.679363749359525</c:v>
                </c:pt>
                <c:pt idx="261">
                  <c:v>1.724217229244019</c:v>
                </c:pt>
                <c:pt idx="262">
                  <c:v>1.7082543366535476</c:v>
                </c:pt>
                <c:pt idx="263">
                  <c:v>1.7473317347487953</c:v>
                </c:pt>
                <c:pt idx="264">
                  <c:v>1.8683939796505595</c:v>
                </c:pt>
                <c:pt idx="265">
                  <c:v>1.8521370496208938</c:v>
                </c:pt>
                <c:pt idx="266">
                  <c:v>1.8906463732372645</c:v>
                </c:pt>
                <c:pt idx="267">
                  <c:v>1.9235061254248866</c:v>
                </c:pt>
                <c:pt idx="268">
                  <c:v>1.9024067055991505</c:v>
                </c:pt>
                <c:pt idx="269">
                  <c:v>1.9188942303810099</c:v>
                </c:pt>
                <c:pt idx="270">
                  <c:v>1.8523676443730877</c:v>
                </c:pt>
                <c:pt idx="271">
                  <c:v>1.8302305481624794</c:v>
                </c:pt>
                <c:pt idx="272">
                  <c:v>1.8749659300880839</c:v>
                </c:pt>
                <c:pt idx="273">
                  <c:v>1.7924130088026904</c:v>
                </c:pt>
                <c:pt idx="274">
                  <c:v>1.7642804490350423</c:v>
                </c:pt>
                <c:pt idx="275">
                  <c:v>1.8091254689674556</c:v>
                </c:pt>
                <c:pt idx="276">
                  <c:v>1.518880323531324</c:v>
                </c:pt>
                <c:pt idx="277">
                  <c:v>1.5515531064105701</c:v>
                </c:pt>
                <c:pt idx="278">
                  <c:v>1.6723154063812125</c:v>
                </c:pt>
                <c:pt idx="279">
                  <c:v>1.6442606846863117</c:v>
                </c:pt>
                <c:pt idx="280">
                  <c:v>1.5195730327089758</c:v>
                </c:pt>
                <c:pt idx="281">
                  <c:v>1.4194765565382812</c:v>
                </c:pt>
                <c:pt idx="282">
                  <c:v>1.4264036483147999</c:v>
                </c:pt>
                <c:pt idx="283">
                  <c:v>1.2838210092481244</c:v>
                </c:pt>
                <c:pt idx="284">
                  <c:v>1.321227304841325</c:v>
                </c:pt>
                <c:pt idx="285">
                  <c:v>1.2958279683274232</c:v>
                </c:pt>
                <c:pt idx="286">
                  <c:v>1.3700633018657815</c:v>
                </c:pt>
                <c:pt idx="287">
                  <c:v>1.3424703862893153</c:v>
                </c:pt>
                <c:pt idx="288">
                  <c:v>1.3619816947931764</c:v>
                </c:pt>
                <c:pt idx="289">
                  <c:v>1.364059822326132</c:v>
                </c:pt>
                <c:pt idx="290">
                  <c:v>1.3425858378189242</c:v>
                </c:pt>
                <c:pt idx="291">
                  <c:v>1.290055391846991</c:v>
                </c:pt>
                <c:pt idx="292">
                  <c:v>1.2883236189028613</c:v>
                </c:pt>
                <c:pt idx="293">
                  <c:v>1.3477811566513132</c:v>
                </c:pt>
                <c:pt idx="294">
                  <c:v>1.3325415547429722</c:v>
                </c:pt>
                <c:pt idx="295">
                  <c:v>1.2840519123073415</c:v>
                </c:pt>
                <c:pt idx="296">
                  <c:v>1.2904017464358171</c:v>
                </c:pt>
                <c:pt idx="297">
                  <c:v>1.2807038179486909</c:v>
                </c:pt>
                <c:pt idx="298">
                  <c:v>1.223555310792412</c:v>
                </c:pt>
                <c:pt idx="299">
                  <c:v>1.2254025352661504</c:v>
                </c:pt>
                <c:pt idx="300">
                  <c:v>1.2838210092481244</c:v>
                </c:pt>
                <c:pt idx="301">
                  <c:v>1.3222663686078027</c:v>
                </c:pt>
                <c:pt idx="302">
                  <c:v>1.3222663686078027</c:v>
                </c:pt>
                <c:pt idx="303">
                  <c:v>1.4005425056824636</c:v>
                </c:pt>
                <c:pt idx="304">
                  <c:v>1.405622372985244</c:v>
                </c:pt>
                <c:pt idx="305">
                  <c:v>1.4572292067203081</c:v>
                </c:pt>
                <c:pt idx="306">
                  <c:v>1.4272118090220605</c:v>
                </c:pt>
                <c:pt idx="307">
                  <c:v>1.4313680640879716</c:v>
                </c:pt>
                <c:pt idx="308">
                  <c:v>1.5231520301268437</c:v>
                </c:pt>
                <c:pt idx="309">
                  <c:v>1.5237292877748871</c:v>
                </c:pt>
                <c:pt idx="310">
                  <c:v>1.5523612671178308</c:v>
                </c:pt>
                <c:pt idx="311">
                  <c:v>1.4829748978230355</c:v>
                </c:pt>
                <c:pt idx="312">
                  <c:v>1.4216701356008454</c:v>
                </c:pt>
                <c:pt idx="313">
                  <c:v>1.3899209649584685</c:v>
                </c:pt>
                <c:pt idx="314">
                  <c:v>1.4304444518511024</c:v>
                </c:pt>
                <c:pt idx="315">
                  <c:v>1.4364479313907519</c:v>
                </c:pt>
                <c:pt idx="316">
                  <c:v>1.4434904746968793</c:v>
                </c:pt>
                <c:pt idx="317">
                  <c:v>1.4899019895995544</c:v>
                </c:pt>
                <c:pt idx="318">
                  <c:v>1.4567674006018734</c:v>
                </c:pt>
                <c:pt idx="319">
                  <c:v>1.4643872015560437</c:v>
                </c:pt>
                <c:pt idx="320">
                  <c:v>1.4273272605516689</c:v>
                </c:pt>
                <c:pt idx="321">
                  <c:v>1.4045092509861135</c:v>
                </c:pt>
                <c:pt idx="322">
                  <c:v>1.2399783629374166</c:v>
                </c:pt>
                <c:pt idx="323">
                  <c:v>1.2596568626403395</c:v>
                </c:pt>
                <c:pt idx="324">
                  <c:v>1.2008542451848605</c:v>
                </c:pt>
                <c:pt idx="325">
                  <c:v>1.2423071794703069</c:v>
                </c:pt>
                <c:pt idx="326">
                  <c:v>1.232526150032168</c:v>
                </c:pt>
                <c:pt idx="327">
                  <c:v>1.1993405144384819</c:v>
                </c:pt>
                <c:pt idx="328">
                  <c:v>1.2765407825037935</c:v>
                </c:pt>
                <c:pt idx="329">
                  <c:v>1.2646638181860537</c:v>
                </c:pt>
                <c:pt idx="330">
                  <c:v>1.2686228062919669</c:v>
                </c:pt>
                <c:pt idx="331">
                  <c:v>1.2589582176804723</c:v>
                </c:pt>
                <c:pt idx="332">
                  <c:v>1.3133360837234598</c:v>
                </c:pt>
                <c:pt idx="333">
                  <c:v>1.3213705007619314</c:v>
                </c:pt>
                <c:pt idx="334">
                  <c:v>1.3650358107536236</c:v>
                </c:pt>
                <c:pt idx="335">
                  <c:v>1.3540903730490392</c:v>
                </c:pt>
                <c:pt idx="336">
                  <c:v>1.3738853135786064</c:v>
                </c:pt>
                <c:pt idx="337">
                  <c:v>1.3806388815239881</c:v>
                </c:pt>
                <c:pt idx="338">
                  <c:v>1.3764470117647858</c:v>
                </c:pt>
                <c:pt idx="339">
                  <c:v>1.3764470117647858</c:v>
                </c:pt>
                <c:pt idx="340">
                  <c:v>1.3787758282976761</c:v>
                </c:pt>
                <c:pt idx="341">
                  <c:v>1.37423463605854</c:v>
                </c:pt>
                <c:pt idx="342">
                  <c:v>1.511867693152354</c:v>
                </c:pt>
                <c:pt idx="343">
                  <c:v>1.5238610982967391</c:v>
                </c:pt>
                <c:pt idx="344">
                  <c:v>1.5436560388263059</c:v>
                </c:pt>
                <c:pt idx="345">
                  <c:v>1.5582111421568701</c:v>
                </c:pt>
                <c:pt idx="346">
                  <c:v>1.5309639887220543</c:v>
                </c:pt>
                <c:pt idx="347">
                  <c:v>1.5729991271407233</c:v>
                </c:pt>
                <c:pt idx="348">
                  <c:v>1.5913967777505562</c:v>
                </c:pt>
                <c:pt idx="349">
                  <c:v>1.5682250532482984</c:v>
                </c:pt>
                <c:pt idx="350">
                  <c:v>1.6044381503347418</c:v>
                </c:pt>
                <c:pt idx="351">
                  <c:v>1.6617270370438419</c:v>
                </c:pt>
                <c:pt idx="352">
                  <c:v>1.6763985812010507</c:v>
                </c:pt>
                <c:pt idx="353">
                  <c:v>1.7099917721411981</c:v>
                </c:pt>
                <c:pt idx="354">
                  <c:v>1.7331761065604558</c:v>
                </c:pt>
                <c:pt idx="355">
                  <c:v>1.7299985581882731</c:v>
                </c:pt>
                <c:pt idx="356">
                  <c:v>1.7257618270253632</c:v>
                </c:pt>
                <c:pt idx="357">
                  <c:v>1.7510645270260758</c:v>
                </c:pt>
                <c:pt idx="358">
                  <c:v>1.750005344235348</c:v>
                </c:pt>
                <c:pt idx="359">
                  <c:v>1.7528298316772883</c:v>
                </c:pt>
                <c:pt idx="360">
                  <c:v>1.7154053730715828</c:v>
                </c:pt>
                <c:pt idx="361">
                  <c:v>1.7191713563275033</c:v>
                </c:pt>
                <c:pt idx="362">
                  <c:v>1.7254087660951209</c:v>
                </c:pt>
                <c:pt idx="363">
                  <c:v>1.7254087660951209</c:v>
                </c:pt>
                <c:pt idx="364">
                  <c:v>1.7530652056307838</c:v>
                </c:pt>
                <c:pt idx="365">
                  <c:v>1.7558896930727232</c:v>
                </c:pt>
                <c:pt idx="366">
                  <c:v>1.7349414112116681</c:v>
                </c:pt>
                <c:pt idx="367">
                  <c:v>1.7693060084219387</c:v>
                </c:pt>
                <c:pt idx="368">
                  <c:v>1.7396488902815683</c:v>
                </c:pt>
                <c:pt idx="369">
                  <c:v>1.7528298316772883</c:v>
                </c:pt>
                <c:pt idx="370">
                  <c:v>1.7049312321410555</c:v>
                </c:pt>
                <c:pt idx="371">
                  <c:v>1.6382027163252217</c:v>
                </c:pt>
                <c:pt idx="372">
                  <c:v>1.6484414833022547</c:v>
                </c:pt>
                <c:pt idx="373">
                  <c:v>1.6339659851623121</c:v>
                </c:pt>
                <c:pt idx="374">
                  <c:v>1.6802169670240801</c:v>
                </c:pt>
                <c:pt idx="375">
                  <c:v>1.6976346395827102</c:v>
                </c:pt>
                <c:pt idx="376">
                  <c:v>1.7097563981877031</c:v>
                </c:pt>
                <c:pt idx="377">
                  <c:v>1.754359762375006</c:v>
                </c:pt>
                <c:pt idx="378">
                  <c:v>1.7375305247001132</c:v>
                </c:pt>
                <c:pt idx="379">
                  <c:v>1.6989291963269331</c:v>
                </c:pt>
                <c:pt idx="380">
                  <c:v>1.7441209953979733</c:v>
                </c:pt>
                <c:pt idx="381">
                  <c:v>1.7275271316765757</c:v>
                </c:pt>
                <c:pt idx="382">
                  <c:v>1.7424733777235086</c:v>
                </c:pt>
                <c:pt idx="383">
                  <c:v>1.7276172291103618</c:v>
                </c:pt>
                <c:pt idx="384">
                  <c:v>1.7192370403239412</c:v>
                </c:pt>
                <c:pt idx="385">
                  <c:v>1.7711706046341522</c:v>
                </c:pt>
                <c:pt idx="386">
                  <c:v>1.8620543421770213</c:v>
                </c:pt>
                <c:pt idx="387">
                  <c:v>1.8358514983659604</c:v>
                </c:pt>
                <c:pt idx="388">
                  <c:v>1.8474185195077804</c:v>
                </c:pt>
                <c:pt idx="389">
                  <c:v>1.7974914792731909</c:v>
                </c:pt>
                <c:pt idx="390">
                  <c:v>1.7839179340557494</c:v>
                </c:pt>
                <c:pt idx="391">
                  <c:v>1.8130715485662545</c:v>
                </c:pt>
                <c:pt idx="392">
                  <c:v>1.8168485350615424</c:v>
                </c:pt>
                <c:pt idx="393">
                  <c:v>1.7625543541917765</c:v>
                </c:pt>
                <c:pt idx="394">
                  <c:v>1.7544102270613111</c:v>
                </c:pt>
                <c:pt idx="395">
                  <c:v>1.804691359779834</c:v>
                </c:pt>
                <c:pt idx="396">
                  <c:v>1.7992619416928575</c:v>
                </c:pt>
                <c:pt idx="397">
                  <c:v>1.8366777141618049</c:v>
                </c:pt>
                <c:pt idx="398">
                  <c:v>1.8570242134791914</c:v>
                </c:pt>
                <c:pt idx="399">
                  <c:v>1.8724905604793678</c:v>
                </c:pt>
                <c:pt idx="400">
                  <c:v>1.8645802914029417</c:v>
                </c:pt>
                <c:pt idx="401">
                  <c:v>1.8081458344099317</c:v>
                </c:pt>
                <c:pt idx="402">
                  <c:v>1.8336475974025888</c:v>
                </c:pt>
                <c:pt idx="403">
                  <c:v>1.8775673003343876</c:v>
                </c:pt>
                <c:pt idx="404">
                  <c:v>1.883706613647435</c:v>
                </c:pt>
                <c:pt idx="405">
                  <c:v>1.9051942102430997</c:v>
                </c:pt>
                <c:pt idx="406">
                  <c:v>1.9328211201518115</c:v>
                </c:pt>
                <c:pt idx="407">
                  <c:v>2.0246746924124008</c:v>
                </c:pt>
                <c:pt idx="408">
                  <c:v>2.0246746924124008</c:v>
                </c:pt>
                <c:pt idx="409">
                  <c:v>2.0162921684657404</c:v>
                </c:pt>
                <c:pt idx="410">
                  <c:v>1.916764454563842</c:v>
                </c:pt>
                <c:pt idx="411">
                  <c:v>1.9278624440143504</c:v>
                </c:pt>
                <c:pt idx="412">
                  <c:v>1.885005314540579</c:v>
                </c:pt>
                <c:pt idx="413">
                  <c:v>1.8713099233037818</c:v>
                </c:pt>
                <c:pt idx="414">
                  <c:v>1.8903181818307162</c:v>
                </c:pt>
                <c:pt idx="415">
                  <c:v>1.8889014172200129</c:v>
                </c:pt>
                <c:pt idx="416">
                  <c:v>1.93966881577021</c:v>
                </c:pt>
                <c:pt idx="417">
                  <c:v>1.9373075414190382</c:v>
                </c:pt>
                <c:pt idx="418">
                  <c:v>1.9662331522208947</c:v>
                </c:pt>
                <c:pt idx="419">
                  <c:v>1.9715460195110315</c:v>
                </c:pt>
                <c:pt idx="420">
                  <c:v>1.9638718778697226</c:v>
                </c:pt>
                <c:pt idx="421">
                  <c:v>1.93128629182355</c:v>
                </c:pt>
                <c:pt idx="422">
                  <c:v>1.7913807865166107</c:v>
                </c:pt>
                <c:pt idx="423">
                  <c:v>1.7448636817985228</c:v>
                </c:pt>
                <c:pt idx="424">
                  <c:v>1.7590313279055549</c:v>
                </c:pt>
                <c:pt idx="425">
                  <c:v>1.8322308327918859</c:v>
                </c:pt>
                <c:pt idx="426">
                  <c:v>1.8805188932733525</c:v>
                </c:pt>
                <c:pt idx="427">
                  <c:v>1.9193618563501313</c:v>
                </c:pt>
                <c:pt idx="428">
                  <c:v>1.9912626603433177</c:v>
                </c:pt>
                <c:pt idx="429">
                  <c:v>2.0459261615729485</c:v>
                </c:pt>
                <c:pt idx="430">
                  <c:v>2.0291611136796277</c:v>
                </c:pt>
                <c:pt idx="431">
                  <c:v>2.0070831984961699</c:v>
                </c:pt>
                <c:pt idx="432">
                  <c:v>2.0186534428169121</c:v>
                </c:pt>
                <c:pt idx="433">
                  <c:v>1.9920891063662276</c:v>
                </c:pt>
                <c:pt idx="434">
                  <c:v>2.0017703312060329</c:v>
                </c:pt>
                <c:pt idx="435">
                  <c:v>1.994096189564724</c:v>
                </c:pt>
                <c:pt idx="436">
                  <c:v>2.0427384411988663</c:v>
                </c:pt>
                <c:pt idx="437">
                  <c:v>2.0297514322674202</c:v>
                </c:pt>
                <c:pt idx="438">
                  <c:v>1.9909084691906418</c:v>
                </c:pt>
                <c:pt idx="439">
                  <c:v>2.0265637118933384</c:v>
                </c:pt>
                <c:pt idx="440">
                  <c:v>2.0485235633592378</c:v>
                </c:pt>
                <c:pt idx="441">
                  <c:v>2.0695217148060827</c:v>
                </c:pt>
                <c:pt idx="442">
                  <c:v>2.0364246063256082</c:v>
                </c:pt>
                <c:pt idx="443">
                  <c:v>2.0170187477561208</c:v>
                </c:pt>
                <c:pt idx="444">
                  <c:v>2.0398771823901178</c:v>
                </c:pt>
                <c:pt idx="445">
                  <c:v>1.9997558674335711</c:v>
                </c:pt>
                <c:pt idx="446">
                  <c:v>2.0438059758428357</c:v>
                </c:pt>
                <c:pt idx="447">
                  <c:v>2.1871474096935248</c:v>
                </c:pt>
                <c:pt idx="448">
                  <c:v>2.0726171278294361</c:v>
                </c:pt>
                <c:pt idx="449">
                  <c:v>2.0804747147348728</c:v>
                </c:pt>
                <c:pt idx="450">
                  <c:v>2.174884811947162</c:v>
                </c:pt>
                <c:pt idx="451">
                  <c:v>2.1723846706590684</c:v>
                </c:pt>
                <c:pt idx="452">
                  <c:v>2.2236970942385095</c:v>
                </c:pt>
                <c:pt idx="453">
                  <c:v>2.1692892576357146</c:v>
                </c:pt>
                <c:pt idx="454">
                  <c:v>2.1367874208905007</c:v>
                </c:pt>
                <c:pt idx="455">
                  <c:v>2.0860702690463198</c:v>
                </c:pt>
                <c:pt idx="456">
                  <c:v>1.9061791506506465</c:v>
                </c:pt>
                <c:pt idx="457">
                  <c:v>1.8312939663548962</c:v>
                </c:pt>
                <c:pt idx="458">
                  <c:v>1.8661768900411519</c:v>
                </c:pt>
                <c:pt idx="459">
                  <c:v>1.8661768900411519</c:v>
                </c:pt>
                <c:pt idx="460">
                  <c:v>1.8312939663548962</c:v>
                </c:pt>
                <c:pt idx="461">
                  <c:v>1.8976072376628972</c:v>
                </c:pt>
                <c:pt idx="462">
                  <c:v>1.8517756999477972</c:v>
                </c:pt>
                <c:pt idx="463">
                  <c:v>1.6572594438037891</c:v>
                </c:pt>
                <c:pt idx="464">
                  <c:v>1.408902803228004</c:v>
                </c:pt>
                <c:pt idx="465">
                  <c:v>1.3420787862673249</c:v>
                </c:pt>
                <c:pt idx="466">
                  <c:v>1.3168262165780842</c:v>
                </c:pt>
                <c:pt idx="467">
                  <c:v>1.3869854785920592</c:v>
                </c:pt>
                <c:pt idx="468">
                  <c:v>1.5283760456728541</c:v>
                </c:pt>
                <c:pt idx="469">
                  <c:v>1.4575020882903158</c:v>
                </c:pt>
                <c:pt idx="470">
                  <c:v>1.3943706640672144</c:v>
                </c:pt>
                <c:pt idx="471">
                  <c:v>1.3918692302772426</c:v>
                </c:pt>
                <c:pt idx="472">
                  <c:v>1.3554197664805085</c:v>
                </c:pt>
                <c:pt idx="473">
                  <c:v>1.409974846280849</c:v>
                </c:pt>
                <c:pt idx="474">
                  <c:v>1.3612564453237765</c:v>
                </c:pt>
                <c:pt idx="475">
                  <c:v>1.4015176177528486</c:v>
                </c:pt>
                <c:pt idx="476">
                  <c:v>1.3774562070112137</c:v>
                </c:pt>
                <c:pt idx="477">
                  <c:v>1.4598844061855272</c:v>
                </c:pt>
                <c:pt idx="478">
                  <c:v>1.4561918134479495</c:v>
                </c:pt>
                <c:pt idx="479">
                  <c:v>1.4767988632415279</c:v>
                </c:pt>
                <c:pt idx="480">
                  <c:v>1.4767988632415279</c:v>
                </c:pt>
                <c:pt idx="481">
                  <c:v>1.4800149924000632</c:v>
                </c:pt>
                <c:pt idx="482">
                  <c:v>1.4572638565007947</c:v>
                </c:pt>
                <c:pt idx="483">
                  <c:v>1.4533330319736959</c:v>
                </c:pt>
                <c:pt idx="484">
                  <c:v>1.4863281348223734</c:v>
                </c:pt>
                <c:pt idx="485">
                  <c:v>1.4661975486078374</c:v>
                </c:pt>
                <c:pt idx="486">
                  <c:v>1.3849605083811294</c:v>
                </c:pt>
                <c:pt idx="487">
                  <c:v>1.2914545309940835</c:v>
                </c:pt>
                <c:pt idx="488">
                  <c:v>1.2958618191002242</c:v>
                </c:pt>
                <c:pt idx="489">
                  <c:v>1.2890722130988719</c:v>
                </c:pt>
                <c:pt idx="490">
                  <c:v>1.3342171372131275</c:v>
                </c:pt>
                <c:pt idx="491">
                  <c:v>1.3591123592180863</c:v>
                </c:pt>
                <c:pt idx="492">
                  <c:v>1.3226628954213522</c:v>
                </c:pt>
                <c:pt idx="493">
                  <c:v>1.1657872620216836</c:v>
                </c:pt>
                <c:pt idx="494">
                  <c:v>1.1261216690664142</c:v>
                </c:pt>
                <c:pt idx="495">
                  <c:v>1.1261216690664142</c:v>
                </c:pt>
                <c:pt idx="496">
                  <c:v>1.0735915594770036</c:v>
                </c:pt>
                <c:pt idx="497">
                  <c:v>1.0628711289485524</c:v>
                </c:pt>
                <c:pt idx="498">
                  <c:v>1.0249922744146915</c:v>
                </c:pt>
                <c:pt idx="499">
                  <c:v>0.9782988436685488</c:v>
                </c:pt>
                <c:pt idx="500">
                  <c:v>1.0481007579982418</c:v>
                </c:pt>
                <c:pt idx="501">
                  <c:v>0.982944363564211</c:v>
                </c:pt>
                <c:pt idx="502">
                  <c:v>0.98127674103756302</c:v>
                </c:pt>
                <c:pt idx="503">
                  <c:v>0.97210481714099928</c:v>
                </c:pt>
                <c:pt idx="504">
                  <c:v>1.032377459889847</c:v>
                </c:pt>
                <c:pt idx="505">
                  <c:v>1.0804237283078169</c:v>
                </c:pt>
                <c:pt idx="506">
                  <c:v>1.1024118891486008</c:v>
                </c:pt>
                <c:pt idx="507">
                  <c:v>1.1396595933051201</c:v>
                </c:pt>
                <c:pt idx="508">
                  <c:v>1.1477099035583034</c:v>
                </c:pt>
                <c:pt idx="509">
                  <c:v>1.0935205017047864</c:v>
                </c:pt>
                <c:pt idx="510">
                  <c:v>1.0843888064922202</c:v>
                </c:pt>
                <c:pt idx="511">
                  <c:v>1.115989278083074</c:v>
                </c:pt>
                <c:pt idx="512">
                  <c:v>1.0996483498079557</c:v>
                </c:pt>
                <c:pt idx="513">
                  <c:v>0.99956016412285675</c:v>
                </c:pt>
                <c:pt idx="514">
                  <c:v>0.97312630956016521</c:v>
                </c:pt>
                <c:pt idx="515">
                  <c:v>0.97312630956016521</c:v>
                </c:pt>
                <c:pt idx="516">
                  <c:v>0.95438230359752985</c:v>
                </c:pt>
                <c:pt idx="517">
                  <c:v>0.91521213729099649</c:v>
                </c:pt>
                <c:pt idx="518">
                  <c:v>1.023951402651158</c:v>
                </c:pt>
                <c:pt idx="519">
                  <c:v>1.0262343264542997</c:v>
                </c:pt>
                <c:pt idx="520">
                  <c:v>1.0416690593648097</c:v>
                </c:pt>
                <c:pt idx="521">
                  <c:v>1.0319315874884625</c:v>
                </c:pt>
                <c:pt idx="522">
                  <c:v>1.0273633908057314</c:v>
                </c:pt>
                <c:pt idx="523">
                  <c:v>0.97074179508030434</c:v>
                </c:pt>
                <c:pt idx="524">
                  <c:v>0.9575180678408205</c:v>
                </c:pt>
                <c:pt idx="525">
                  <c:v>0.91628408199406564</c:v>
                </c:pt>
                <c:pt idx="526">
                  <c:v>0.91183610101351176</c:v>
                </c:pt>
                <c:pt idx="527">
                  <c:v>0.98636983636333098</c:v>
                </c:pt>
                <c:pt idx="528">
                  <c:v>0.95835957775606018</c:v>
                </c:pt>
                <c:pt idx="529">
                  <c:v>0.86579348707967207</c:v>
                </c:pt>
                <c:pt idx="530">
                  <c:v>0.80628671450199385</c:v>
                </c:pt>
                <c:pt idx="531">
                  <c:v>0.84235142515513217</c:v>
                </c:pt>
                <c:pt idx="532">
                  <c:v>0.92998867204225821</c:v>
                </c:pt>
                <c:pt idx="533">
                  <c:v>0.9944242884091985</c:v>
                </c:pt>
                <c:pt idx="534">
                  <c:v>1.0314507246797537</c:v>
                </c:pt>
                <c:pt idx="535">
                  <c:v>1.036379568469016</c:v>
                </c:pt>
                <c:pt idx="536">
                  <c:v>1.1223337955256623</c:v>
                </c:pt>
                <c:pt idx="537">
                  <c:v>1.111875029436252</c:v>
                </c:pt>
                <c:pt idx="538">
                  <c:v>1.1124761079471379</c:v>
                </c:pt>
                <c:pt idx="539">
                  <c:v>1.0677558667372462</c:v>
                </c:pt>
                <c:pt idx="540">
                  <c:v>1.0795370055506048</c:v>
                </c:pt>
                <c:pt idx="541">
                  <c:v>1.1259402665909759</c:v>
                </c:pt>
                <c:pt idx="542">
                  <c:v>1.0884329675117121</c:v>
                </c:pt>
                <c:pt idx="543">
                  <c:v>1.0693186708655489</c:v>
                </c:pt>
                <c:pt idx="544">
                  <c:v>1.1091100682861781</c:v>
                </c:pt>
                <c:pt idx="545">
                  <c:v>1.0517671783476883</c:v>
                </c:pt>
                <c:pt idx="546">
                  <c:v>1.0879521047030039</c:v>
                </c:pt>
                <c:pt idx="547">
                  <c:v>1.0578981791587219</c:v>
                </c:pt>
                <c:pt idx="548">
                  <c:v>1.0776135543157708</c:v>
                </c:pt>
                <c:pt idx="549">
                  <c:v>1.051526746943334</c:v>
                </c:pt>
                <c:pt idx="550">
                  <c:v>1.1301478161671754</c:v>
                </c:pt>
                <c:pt idx="551">
                  <c:v>1.0819413195941474</c:v>
                </c:pt>
                <c:pt idx="552">
                  <c:v>1.0819413195941474</c:v>
                </c:pt>
                <c:pt idx="553">
                  <c:v>1.0722038477178002</c:v>
                </c:pt>
                <c:pt idx="554">
                  <c:v>1.1246178938670275</c:v>
                </c:pt>
                <c:pt idx="555">
                  <c:v>1.0624663758414528</c:v>
                </c:pt>
                <c:pt idx="556">
                  <c:v>0.99454450411137574</c:v>
                </c:pt>
                <c:pt idx="557">
                  <c:v>0.95571483230816345</c:v>
                </c:pt>
                <c:pt idx="558">
                  <c:v>1.0005552892202321</c:v>
                </c:pt>
                <c:pt idx="559">
                  <c:v>0.95078598851890139</c:v>
                </c:pt>
                <c:pt idx="560">
                  <c:v>0.94465498770786771</c:v>
                </c:pt>
                <c:pt idx="561">
                  <c:v>0.97458869754997224</c:v>
                </c:pt>
                <c:pt idx="562">
                  <c:v>0.91532235637664849</c:v>
                </c:pt>
                <c:pt idx="563">
                  <c:v>0.82255056636208046</c:v>
                </c:pt>
                <c:pt idx="564">
                  <c:v>0.78948381557179226</c:v>
                </c:pt>
                <c:pt idx="565">
                  <c:v>0.69476513748386004</c:v>
                </c:pt>
                <c:pt idx="566">
                  <c:v>0.69646086829361853</c:v>
                </c:pt>
                <c:pt idx="567">
                  <c:v>0.64207635875208191</c:v>
                </c:pt>
                <c:pt idx="568">
                  <c:v>0.67259951332773282</c:v>
                </c:pt>
                <c:pt idx="569">
                  <c:v>0.77422223828396686</c:v>
                </c:pt>
                <c:pt idx="570">
                  <c:v>0.70590851137655808</c:v>
                </c:pt>
                <c:pt idx="571">
                  <c:v>0.7134181763912022</c:v>
                </c:pt>
                <c:pt idx="572">
                  <c:v>0.6835006399618937</c:v>
                </c:pt>
                <c:pt idx="573">
                  <c:v>0.72516716843024231</c:v>
                </c:pt>
                <c:pt idx="574">
                  <c:v>0.72674177561073239</c:v>
                </c:pt>
                <c:pt idx="575">
                  <c:v>0.72032222325950424</c:v>
                </c:pt>
                <c:pt idx="576">
                  <c:v>0.69161592312288034</c:v>
                </c:pt>
                <c:pt idx="577">
                  <c:v>0.7140237945375445</c:v>
                </c:pt>
                <c:pt idx="578">
                  <c:v>0.7268628992400008</c:v>
                </c:pt>
                <c:pt idx="579">
                  <c:v>0.78306426322056411</c:v>
                </c:pt>
                <c:pt idx="580">
                  <c:v>0.78306426322056411</c:v>
                </c:pt>
                <c:pt idx="581">
                  <c:v>0.74672717444002734</c:v>
                </c:pt>
                <c:pt idx="582">
                  <c:v>0.75023975968881262</c:v>
                </c:pt>
                <c:pt idx="583">
                  <c:v>0.89171215867436859</c:v>
                </c:pt>
                <c:pt idx="584">
                  <c:v>0.89752609287925433</c:v>
                </c:pt>
                <c:pt idx="585">
                  <c:v>0.9424629593378514</c:v>
                </c:pt>
                <c:pt idx="586">
                  <c:v>0.94839801717200578</c:v>
                </c:pt>
                <c:pt idx="587">
                  <c:v>0.92053958244026091</c:v>
                </c:pt>
                <c:pt idx="588">
                  <c:v>0.8533159681962682</c:v>
                </c:pt>
                <c:pt idx="589">
                  <c:v>0.77470673280104074</c:v>
                </c:pt>
                <c:pt idx="590">
                  <c:v>0.76223099898638969</c:v>
                </c:pt>
                <c:pt idx="591">
                  <c:v>0.79747797510351026</c:v>
                </c:pt>
                <c:pt idx="592">
                  <c:v>0.75177456763664674</c:v>
                </c:pt>
                <c:pt idx="593">
                  <c:v>0.79618319188522502</c:v>
                </c:pt>
                <c:pt idx="594">
                  <c:v>0.79618319188522502</c:v>
                </c:pt>
                <c:pt idx="595">
                  <c:v>0.82863564806687839</c:v>
                </c:pt>
                <c:pt idx="596">
                  <c:v>0.84486187615770514</c:v>
                </c:pt>
                <c:pt idx="597">
                  <c:v>0.88256040608300923</c:v>
                </c:pt>
                <c:pt idx="598">
                  <c:v>0.946489304726567</c:v>
                </c:pt>
                <c:pt idx="599">
                  <c:v>0.90391070620251801</c:v>
                </c:pt>
                <c:pt idx="600">
                  <c:v>0.87316627403042524</c:v>
                </c:pt>
                <c:pt idx="601">
                  <c:v>0.88634245924703658</c:v>
                </c:pt>
                <c:pt idx="602">
                  <c:v>0.82558560519266266</c:v>
                </c:pt>
                <c:pt idx="603">
                  <c:v>0.86877421229155471</c:v>
                </c:pt>
                <c:pt idx="604">
                  <c:v>0.86877421229155471</c:v>
                </c:pt>
                <c:pt idx="605">
                  <c:v>0.92221096344781139</c:v>
                </c:pt>
                <c:pt idx="606">
                  <c:v>0.92099094629812495</c:v>
                </c:pt>
                <c:pt idx="607">
                  <c:v>0.97015763743047956</c:v>
                </c:pt>
                <c:pt idx="608">
                  <c:v>0.96247152938745617</c:v>
                </c:pt>
                <c:pt idx="609">
                  <c:v>0.92648102347171291</c:v>
                </c:pt>
                <c:pt idx="610">
                  <c:v>0.8476679156019834</c:v>
                </c:pt>
                <c:pt idx="611">
                  <c:v>0.86816420371671177</c:v>
                </c:pt>
                <c:pt idx="612">
                  <c:v>0.85401200478035166</c:v>
                </c:pt>
                <c:pt idx="613">
                  <c:v>0.87914435806388791</c:v>
                </c:pt>
                <c:pt idx="614">
                  <c:v>0.8870744695368481</c:v>
                </c:pt>
                <c:pt idx="615">
                  <c:v>0.91525686569459974</c:v>
                </c:pt>
                <c:pt idx="616">
                  <c:v>0.98150379692256129</c:v>
                </c:pt>
                <c:pt idx="617">
                  <c:v>0.98674987066621189</c:v>
                </c:pt>
                <c:pt idx="618">
                  <c:v>0.93184909893033219</c:v>
                </c:pt>
                <c:pt idx="619">
                  <c:v>0.92879905605611668</c:v>
                </c:pt>
                <c:pt idx="620">
                  <c:v>0.89378456386012239</c:v>
                </c:pt>
                <c:pt idx="621">
                  <c:v>0.94661130644153557</c:v>
                </c:pt>
                <c:pt idx="622">
                  <c:v>0.96491156368682895</c:v>
                </c:pt>
                <c:pt idx="623">
                  <c:v>0.97467170088431854</c:v>
                </c:pt>
                <c:pt idx="624">
                  <c:v>0.98633735046826421</c:v>
                </c:pt>
                <c:pt idx="625">
                  <c:v>1.0002621130631102</c:v>
                </c:pt>
                <c:pt idx="626">
                  <c:v>1.0593812805710534</c:v>
                </c:pt>
                <c:pt idx="627">
                  <c:v>1.0601141628128872</c:v>
                </c:pt>
                <c:pt idx="628">
                  <c:v>1.0581598101679965</c:v>
                </c:pt>
                <c:pt idx="629">
                  <c:v>1.0724510138837595</c:v>
                </c:pt>
                <c:pt idx="630">
                  <c:v>1.0132096993355111</c:v>
                </c:pt>
                <c:pt idx="631">
                  <c:v>1.0775811895765977</c:v>
                </c:pt>
                <c:pt idx="632">
                  <c:v>1.0171184046252921</c:v>
                </c:pt>
                <c:pt idx="633">
                  <c:v>1.0233479036808815</c:v>
                </c:pt>
                <c:pt idx="634">
                  <c:v>1.0375169603563388</c:v>
                </c:pt>
                <c:pt idx="635">
                  <c:v>1.0260351385676061</c:v>
                </c:pt>
                <c:pt idx="636">
                  <c:v>0.98450514486367913</c:v>
                </c:pt>
                <c:pt idx="637">
                  <c:v>0.98780311495193229</c:v>
                </c:pt>
                <c:pt idx="638">
                  <c:v>0.97697436527188652</c:v>
                </c:pt>
                <c:pt idx="639">
                  <c:v>0.97685219766337439</c:v>
                </c:pt>
                <c:pt idx="640">
                  <c:v>0.98650343873583657</c:v>
                </c:pt>
                <c:pt idx="641">
                  <c:v>1.0154571619532227</c:v>
                </c:pt>
                <c:pt idx="642">
                  <c:v>1.0381803371364877</c:v>
                </c:pt>
                <c:pt idx="643">
                  <c:v>1.0135024802170278</c:v>
                </c:pt>
                <c:pt idx="644">
                  <c:v>1.0315832862768299</c:v>
                </c:pt>
                <c:pt idx="645">
                  <c:v>1.0350039793151711</c:v>
                </c:pt>
                <c:pt idx="646">
                  <c:v>1.0251084030256845</c:v>
                </c:pt>
                <c:pt idx="647">
                  <c:v>0.99444433328912818</c:v>
                </c:pt>
                <c:pt idx="648">
                  <c:v>0.99859803197854213</c:v>
                </c:pt>
                <c:pt idx="649">
                  <c:v>0.99859803197854213</c:v>
                </c:pt>
                <c:pt idx="650">
                  <c:v>0.96561277768025411</c:v>
                </c:pt>
                <c:pt idx="651">
                  <c:v>1.0210768719447827</c:v>
                </c:pt>
                <c:pt idx="652">
                  <c:v>1.0368364934428538</c:v>
                </c:pt>
                <c:pt idx="653">
                  <c:v>1.0999971470436498</c:v>
                </c:pt>
                <c:pt idx="654">
                  <c:v>1.0163123352128078</c:v>
                </c:pt>
                <c:pt idx="655">
                  <c:v>1.0543064614600952</c:v>
                </c:pt>
                <c:pt idx="656">
                  <c:v>1.0277960904129526</c:v>
                </c:pt>
                <c:pt idx="657">
                  <c:v>1.0003083784977125</c:v>
                </c:pt>
                <c:pt idx="658">
                  <c:v>1.0200995310766854</c:v>
                </c:pt>
                <c:pt idx="659">
                  <c:v>0.9409349207607941</c:v>
                </c:pt>
                <c:pt idx="660">
                  <c:v>0.92163243861587008</c:v>
                </c:pt>
                <c:pt idx="661">
                  <c:v>0.86482450065770733</c:v>
                </c:pt>
                <c:pt idx="662">
                  <c:v>0.83196141396793133</c:v>
                </c:pt>
                <c:pt idx="663">
                  <c:v>0.82609736875934692</c:v>
                </c:pt>
                <c:pt idx="664">
                  <c:v>0.8550510919767329</c:v>
                </c:pt>
                <c:pt idx="665">
                  <c:v>0.89267871539848365</c:v>
                </c:pt>
                <c:pt idx="666">
                  <c:v>0.87655259107487626</c:v>
                </c:pt>
                <c:pt idx="667">
                  <c:v>0.87643042346636413</c:v>
                </c:pt>
                <c:pt idx="668">
                  <c:v>0.81583528964432395</c:v>
                </c:pt>
                <c:pt idx="669">
                  <c:v>0.78297220295454817</c:v>
                </c:pt>
                <c:pt idx="670">
                  <c:v>0.77564214644381746</c:v>
                </c:pt>
                <c:pt idx="671">
                  <c:v>0.77136628014589115</c:v>
                </c:pt>
                <c:pt idx="672">
                  <c:v>0.75133079234989408</c:v>
                </c:pt>
                <c:pt idx="673">
                  <c:v>0.78309437056306019</c:v>
                </c:pt>
                <c:pt idx="674">
                  <c:v>0.78773673968652314</c:v>
                </c:pt>
                <c:pt idx="675">
                  <c:v>0.7565839995159177</c:v>
                </c:pt>
                <c:pt idx="676">
                  <c:v>0.77148844775440328</c:v>
                </c:pt>
                <c:pt idx="677">
                  <c:v>0.7763751520948905</c:v>
                </c:pt>
                <c:pt idx="678">
                  <c:v>0.77674165492042702</c:v>
                </c:pt>
                <c:pt idx="679">
                  <c:v>0.82096632920183543</c:v>
                </c:pt>
                <c:pt idx="680">
                  <c:v>0.79018009185676674</c:v>
                </c:pt>
                <c:pt idx="681">
                  <c:v>0.79628847228237565</c:v>
                </c:pt>
                <c:pt idx="682">
                  <c:v>0.78272786773752356</c:v>
                </c:pt>
                <c:pt idx="683">
                  <c:v>0.78610764540161127</c:v>
                </c:pt>
                <c:pt idx="684">
                  <c:v>0.77393803525387717</c:v>
                </c:pt>
                <c:pt idx="685">
                  <c:v>0.70841882102415732</c:v>
                </c:pt>
                <c:pt idx="686">
                  <c:v>0.71001685063951636</c:v>
                </c:pt>
                <c:pt idx="687">
                  <c:v>0.64966050132095632</c:v>
                </c:pt>
                <c:pt idx="688">
                  <c:v>0.66305936501896656</c:v>
                </c:pt>
                <c:pt idx="689">
                  <c:v>0.70706664211885339</c:v>
                </c:pt>
                <c:pt idx="690">
                  <c:v>0.65826527617288955</c:v>
                </c:pt>
                <c:pt idx="691">
                  <c:v>0.77455266202901529</c:v>
                </c:pt>
                <c:pt idx="692">
                  <c:v>0.82126429693950975</c:v>
                </c:pt>
                <c:pt idx="693">
                  <c:v>0.79569582309376541</c:v>
                </c:pt>
                <c:pt idx="694">
                  <c:v>0.82458328152525528</c:v>
                </c:pt>
                <c:pt idx="695">
                  <c:v>0.77467558738404296</c:v>
                </c:pt>
                <c:pt idx="696">
                  <c:v>0.73116001170426648</c:v>
                </c:pt>
                <c:pt idx="697">
                  <c:v>0.71308998451520678</c:v>
                </c:pt>
                <c:pt idx="698">
                  <c:v>0.7053456871484669</c:v>
                </c:pt>
                <c:pt idx="699">
                  <c:v>0.70387058288813542</c:v>
                </c:pt>
                <c:pt idx="700">
                  <c:v>0.73263511596459785</c:v>
                </c:pt>
                <c:pt idx="701">
                  <c:v>0.73263511596459785</c:v>
                </c:pt>
                <c:pt idx="702">
                  <c:v>0.72378449040260939</c:v>
                </c:pt>
                <c:pt idx="703">
                  <c:v>0.71013977599454392</c:v>
                </c:pt>
                <c:pt idx="704">
                  <c:v>0.72538252001796844</c:v>
                </c:pt>
                <c:pt idx="705">
                  <c:v>0.75241293149314026</c:v>
                </c:pt>
                <c:pt idx="706">
                  <c:v>0.70298165212392272</c:v>
                </c:pt>
                <c:pt idx="707">
                  <c:v>0.68896382663115951</c:v>
                </c:pt>
                <c:pt idx="708">
                  <c:v>0.64371330223346779</c:v>
                </c:pt>
                <c:pt idx="709">
                  <c:v>0.63744216977617896</c:v>
                </c:pt>
                <c:pt idx="710">
                  <c:v>0.63928662049891094</c:v>
                </c:pt>
                <c:pt idx="711">
                  <c:v>0.66596967428776721</c:v>
                </c:pt>
                <c:pt idx="712">
                  <c:v>0.65760816434471536</c:v>
                </c:pt>
                <c:pt idx="713">
                  <c:v>0.70298165212392272</c:v>
                </c:pt>
                <c:pt idx="714">
                  <c:v>0.73236990030611915</c:v>
                </c:pt>
                <c:pt idx="715">
                  <c:v>0.73864103276340798</c:v>
                </c:pt>
                <c:pt idx="716">
                  <c:v>0.68699641252691201</c:v>
                </c:pt>
                <c:pt idx="717">
                  <c:v>0.6828156575553862</c:v>
                </c:pt>
                <c:pt idx="718">
                  <c:v>0.64703331353438542</c:v>
                </c:pt>
                <c:pt idx="719">
                  <c:v>0.65342740937318955</c:v>
                </c:pt>
                <c:pt idx="720">
                  <c:v>0.65871483477835469</c:v>
                </c:pt>
                <c:pt idx="721">
                  <c:v>0.63965551064345738</c:v>
                </c:pt>
                <c:pt idx="722">
                  <c:v>0.63252363451556026</c:v>
                </c:pt>
                <c:pt idx="723">
                  <c:v>0.63252363451556026</c:v>
                </c:pt>
                <c:pt idx="724">
                  <c:v>0.60756206806792046</c:v>
                </c:pt>
                <c:pt idx="725">
                  <c:v>0.60620947087125043</c:v>
                </c:pt>
                <c:pt idx="726">
                  <c:v>0.63473697538283869</c:v>
                </c:pt>
                <c:pt idx="727">
                  <c:v>0.63326141480465303</c:v>
                </c:pt>
                <c:pt idx="728">
                  <c:v>0.61678432168158048</c:v>
                </c:pt>
                <c:pt idx="729">
                  <c:v>0.62453101471705497</c:v>
                </c:pt>
                <c:pt idx="730">
                  <c:v>0.59354424257515748</c:v>
                </c:pt>
                <c:pt idx="731">
                  <c:v>0.58948645098514696</c:v>
                </c:pt>
                <c:pt idx="732">
                  <c:v>0.62096507665310641</c:v>
                </c:pt>
                <c:pt idx="733">
                  <c:v>0.62096507665310641</c:v>
                </c:pt>
                <c:pt idx="734">
                  <c:v>0.63522882890890042</c:v>
                </c:pt>
                <c:pt idx="735">
                  <c:v>0.63067918379282828</c:v>
                </c:pt>
                <c:pt idx="736">
                  <c:v>0.62969547674070447</c:v>
                </c:pt>
                <c:pt idx="737">
                  <c:v>0.62969547674070447</c:v>
                </c:pt>
                <c:pt idx="738">
                  <c:v>0.64580367971923081</c:v>
                </c:pt>
                <c:pt idx="739">
                  <c:v>0.63117103731889013</c:v>
                </c:pt>
                <c:pt idx="740">
                  <c:v>0.62526879500614774</c:v>
                </c:pt>
                <c:pt idx="741">
                  <c:v>0.67777415891325199</c:v>
                </c:pt>
                <c:pt idx="742">
                  <c:v>0.7119579789745516</c:v>
                </c:pt>
                <c:pt idx="743">
                  <c:v>0.72979727064035882</c:v>
                </c:pt>
                <c:pt idx="744">
                  <c:v>0.78623128799953013</c:v>
                </c:pt>
                <c:pt idx="745">
                  <c:v>0.80744055606198772</c:v>
                </c:pt>
                <c:pt idx="746">
                  <c:v>0.7603088492565262</c:v>
                </c:pt>
                <c:pt idx="747">
                  <c:v>0.75547164776859721</c:v>
                </c:pt>
                <c:pt idx="748">
                  <c:v>0.78002974763039046</c:v>
                </c:pt>
                <c:pt idx="749">
                  <c:v>0.77692897744582057</c:v>
                </c:pt>
                <c:pt idx="750">
                  <c:v>0.76973519061761853</c:v>
                </c:pt>
                <c:pt idx="751">
                  <c:v>0.73562671858735018</c:v>
                </c:pt>
                <c:pt idx="752">
                  <c:v>0.75968869521961224</c:v>
                </c:pt>
                <c:pt idx="753">
                  <c:v>0.7719677451505087</c:v>
                </c:pt>
                <c:pt idx="754">
                  <c:v>0.79131655110222465</c:v>
                </c:pt>
                <c:pt idx="755">
                  <c:v>0.75981272602699501</c:v>
                </c:pt>
                <c:pt idx="756">
                  <c:v>0.74914607659207466</c:v>
                </c:pt>
                <c:pt idx="757">
                  <c:v>0.74914607659207466</c:v>
                </c:pt>
                <c:pt idx="758">
                  <c:v>0.72818487014438249</c:v>
                </c:pt>
                <c:pt idx="759">
                  <c:v>0.74914607659207466</c:v>
                </c:pt>
                <c:pt idx="760">
                  <c:v>0.75013832305113703</c:v>
                </c:pt>
                <c:pt idx="761">
                  <c:v>0.72086705250879768</c:v>
                </c:pt>
                <c:pt idx="762">
                  <c:v>0.72037092927926649</c:v>
                </c:pt>
                <c:pt idx="763">
                  <c:v>0.7324631209150555</c:v>
                </c:pt>
                <c:pt idx="764">
                  <c:v>0.71645367621867417</c:v>
                </c:pt>
                <c:pt idx="765">
                  <c:v>0.72489276334544872</c:v>
                </c:pt>
                <c:pt idx="766">
                  <c:v>0.79339829413926632</c:v>
                </c:pt>
                <c:pt idx="767">
                  <c:v>0.77391393121421304</c:v>
                </c:pt>
                <c:pt idx="768">
                  <c:v>0.76137940474650367</c:v>
                </c:pt>
                <c:pt idx="769">
                  <c:v>0.74474943893785961</c:v>
                </c:pt>
                <c:pt idx="770">
                  <c:v>0.6982103555181467</c:v>
                </c:pt>
                <c:pt idx="771">
                  <c:v>0.65886931700068274</c:v>
                </c:pt>
                <c:pt idx="772">
                  <c:v>0.68468299527081689</c:v>
                </c:pt>
                <c:pt idx="773">
                  <c:v>0.68406247415855403</c:v>
                </c:pt>
                <c:pt idx="774">
                  <c:v>0.68530351638307963</c:v>
                </c:pt>
                <c:pt idx="775">
                  <c:v>0.69870677240795687</c:v>
                </c:pt>
                <c:pt idx="776">
                  <c:v>0.68133218126459749</c:v>
                </c:pt>
                <c:pt idx="777">
                  <c:v>0.68468299527081689</c:v>
                </c:pt>
                <c:pt idx="778">
                  <c:v>0.71198592421038176</c:v>
                </c:pt>
                <c:pt idx="779">
                  <c:v>0.68058755592988207</c:v>
                </c:pt>
                <c:pt idx="780">
                  <c:v>0.69349439506494914</c:v>
                </c:pt>
                <c:pt idx="781">
                  <c:v>0.68406247415855403</c:v>
                </c:pt>
                <c:pt idx="782">
                  <c:v>0.687537392387226</c:v>
                </c:pt>
                <c:pt idx="783">
                  <c:v>0.68617224594024762</c:v>
                </c:pt>
                <c:pt idx="784">
                  <c:v>0.696969313293621</c:v>
                </c:pt>
                <c:pt idx="785">
                  <c:v>0.696100583736453</c:v>
                </c:pt>
                <c:pt idx="786">
                  <c:v>0.71856344800036787</c:v>
                </c:pt>
                <c:pt idx="787">
                  <c:v>0.70367094130605978</c:v>
                </c:pt>
                <c:pt idx="788">
                  <c:v>0.69734162596097871</c:v>
                </c:pt>
                <c:pt idx="789">
                  <c:v>0.67835367992573581</c:v>
                </c:pt>
                <c:pt idx="790">
                  <c:v>0.67835367992573581</c:v>
                </c:pt>
                <c:pt idx="791">
                  <c:v>0.67810547148083078</c:v>
                </c:pt>
                <c:pt idx="792">
                  <c:v>0.68344195304629107</c:v>
                </c:pt>
                <c:pt idx="793">
                  <c:v>0.68244911926667073</c:v>
                </c:pt>
                <c:pt idx="794">
                  <c:v>0.73221491247015036</c:v>
                </c:pt>
                <c:pt idx="795">
                  <c:v>0.74065399959692502</c:v>
                </c:pt>
                <c:pt idx="796">
                  <c:v>0.74747973183181615</c:v>
                </c:pt>
                <c:pt idx="797">
                  <c:v>0.77999503811438886</c:v>
                </c:pt>
                <c:pt idx="798">
                  <c:v>0.78557972812475441</c:v>
                </c:pt>
                <c:pt idx="799">
                  <c:v>0.74450123049295458</c:v>
                </c:pt>
                <c:pt idx="800">
                  <c:v>0.74822435716653146</c:v>
                </c:pt>
                <c:pt idx="801">
                  <c:v>0.72464455490054369</c:v>
                </c:pt>
                <c:pt idx="802">
                  <c:v>0.69709341751607368</c:v>
                </c:pt>
                <c:pt idx="803">
                  <c:v>0.72737484779450012</c:v>
                </c:pt>
                <c:pt idx="804">
                  <c:v>0.73035334913336181</c:v>
                </c:pt>
                <c:pt idx="805">
                  <c:v>0.71049667354095092</c:v>
                </c:pt>
                <c:pt idx="806">
                  <c:v>0.71029935092255292</c:v>
                </c:pt>
                <c:pt idx="807">
                  <c:v>0.70967320551447588</c:v>
                </c:pt>
                <c:pt idx="808">
                  <c:v>0.72006721928855422</c:v>
                </c:pt>
                <c:pt idx="809">
                  <c:v>0.73208921112363257</c:v>
                </c:pt>
                <c:pt idx="810">
                  <c:v>0.74861944989686557</c:v>
                </c:pt>
                <c:pt idx="811">
                  <c:v>0.73797497795955647</c:v>
                </c:pt>
                <c:pt idx="812">
                  <c:v>0.7319639820420174</c:v>
                </c:pt>
                <c:pt idx="813">
                  <c:v>0.76765427030240641</c:v>
                </c:pt>
                <c:pt idx="814">
                  <c:v>0.75938915091579007</c:v>
                </c:pt>
                <c:pt idx="815">
                  <c:v>0.79670741723717942</c:v>
                </c:pt>
                <c:pt idx="816">
                  <c:v>0.82112708815218249</c:v>
                </c:pt>
                <c:pt idx="817">
                  <c:v>0.81160967794941219</c:v>
                </c:pt>
                <c:pt idx="818">
                  <c:v>0.82288029529479811</c:v>
                </c:pt>
                <c:pt idx="819">
                  <c:v>0.83665549427249242</c:v>
                </c:pt>
                <c:pt idx="820">
                  <c:v>0.83502751621149218</c:v>
                </c:pt>
                <c:pt idx="821">
                  <c:v>0.83490228712987669</c:v>
                </c:pt>
                <c:pt idx="822">
                  <c:v>0.86533295396241905</c:v>
                </c:pt>
                <c:pt idx="823">
                  <c:v>0.86533295396241905</c:v>
                </c:pt>
                <c:pt idx="824">
                  <c:v>0.90590717640580898</c:v>
                </c:pt>
                <c:pt idx="825">
                  <c:v>0.91214237991945613</c:v>
                </c:pt>
                <c:pt idx="826">
                  <c:v>0.89761223489464737</c:v>
                </c:pt>
                <c:pt idx="827">
                  <c:v>0.90550360676156949</c:v>
                </c:pt>
                <c:pt idx="828">
                  <c:v>0.91226763979035963</c:v>
                </c:pt>
                <c:pt idx="829">
                  <c:v>0.89485651773477004</c:v>
                </c:pt>
                <c:pt idx="830">
                  <c:v>0.84675672730781704</c:v>
                </c:pt>
                <c:pt idx="831">
                  <c:v>0.85727855646371287</c:v>
                </c:pt>
                <c:pt idx="832">
                  <c:v>0.88533676754610213</c:v>
                </c:pt>
                <c:pt idx="833">
                  <c:v>0.89009664264043598</c:v>
                </c:pt>
                <c:pt idx="834">
                  <c:v>0.89072294199495361</c:v>
                </c:pt>
                <c:pt idx="835">
                  <c:v>0.8786979943882155</c:v>
                </c:pt>
                <c:pt idx="836">
                  <c:v>0.87005506329587223</c:v>
                </c:pt>
                <c:pt idx="837">
                  <c:v>0.83160028292849064</c:v>
                </c:pt>
                <c:pt idx="838">
                  <c:v>0.83160028292849064</c:v>
                </c:pt>
                <c:pt idx="839">
                  <c:v>0.82233105248163008</c:v>
                </c:pt>
                <c:pt idx="840">
                  <c:v>0.80116213429893468</c:v>
                </c:pt>
                <c:pt idx="841">
                  <c:v>0.77347970282925593</c:v>
                </c:pt>
                <c:pt idx="842">
                  <c:v>0.79727907830092526</c:v>
                </c:pt>
                <c:pt idx="843">
                  <c:v>0.81619331880735724</c:v>
                </c:pt>
                <c:pt idx="844">
                  <c:v>0.80279051262068046</c:v>
                </c:pt>
                <c:pt idx="845">
                  <c:v>0.80316629223339098</c:v>
                </c:pt>
                <c:pt idx="846">
                  <c:v>0.80980506539127772</c:v>
                </c:pt>
                <c:pt idx="847">
                  <c:v>0.80980506539127772</c:v>
                </c:pt>
                <c:pt idx="848">
                  <c:v>0.81018084500398824</c:v>
                </c:pt>
                <c:pt idx="849">
                  <c:v>0.78462783133966951</c:v>
                </c:pt>
                <c:pt idx="850">
                  <c:v>0.8056714896514614</c:v>
                </c:pt>
                <c:pt idx="851">
                  <c:v>0.8382390560863775</c:v>
                </c:pt>
                <c:pt idx="852">
                  <c:v>0.8709318823921971</c:v>
                </c:pt>
                <c:pt idx="853">
                  <c:v>0.8864641063842339</c:v>
                </c:pt>
                <c:pt idx="854">
                  <c:v>0.8903471623822431</c:v>
                </c:pt>
                <c:pt idx="855">
                  <c:v>0.87506545813201331</c:v>
                </c:pt>
                <c:pt idx="856">
                  <c:v>0.86679830665238067</c:v>
                </c:pt>
                <c:pt idx="857">
                  <c:v>0.84913666485498396</c:v>
                </c:pt>
                <c:pt idx="858">
                  <c:v>0.85327024059480039</c:v>
                </c:pt>
                <c:pt idx="859">
                  <c:v>0.81393864113109404</c:v>
                </c:pt>
                <c:pt idx="860">
                  <c:v>0.7999095355898993</c:v>
                </c:pt>
                <c:pt idx="861">
                  <c:v>0.79464862101195133</c:v>
                </c:pt>
                <c:pt idx="862">
                  <c:v>0.80805142719862844</c:v>
                </c:pt>
                <c:pt idx="863">
                  <c:v>0.7996590158480924</c:v>
                </c:pt>
                <c:pt idx="864">
                  <c:v>0.79239394333568791</c:v>
                </c:pt>
                <c:pt idx="865">
                  <c:v>0.80742512784411069</c:v>
                </c:pt>
                <c:pt idx="866">
                  <c:v>0.840785885194274</c:v>
                </c:pt>
                <c:pt idx="867">
                  <c:v>0.84394911275331952</c:v>
                </c:pt>
                <c:pt idx="868">
                  <c:v>0.78030497426532552</c:v>
                </c:pt>
                <c:pt idx="869">
                  <c:v>0.79030077335190907</c:v>
                </c:pt>
                <c:pt idx="870">
                  <c:v>0.8035863290998998</c:v>
                </c:pt>
                <c:pt idx="871">
                  <c:v>0.78966812784009999</c:v>
                </c:pt>
                <c:pt idx="872">
                  <c:v>0.75272162995044956</c:v>
                </c:pt>
                <c:pt idx="873">
                  <c:v>0.74335847637567487</c:v>
                </c:pt>
                <c:pt idx="874">
                  <c:v>0.75322774635989675</c:v>
                </c:pt>
                <c:pt idx="875">
                  <c:v>0.75208898443864036</c:v>
                </c:pt>
                <c:pt idx="876">
                  <c:v>0.77562339747793818</c:v>
                </c:pt>
                <c:pt idx="877">
                  <c:v>0.78916201143065268</c:v>
                </c:pt>
                <c:pt idx="878">
                  <c:v>0.77866009593462193</c:v>
                </c:pt>
                <c:pt idx="879">
                  <c:v>0.76259089993467111</c:v>
                </c:pt>
                <c:pt idx="880">
                  <c:v>0.7594276723756257</c:v>
                </c:pt>
                <c:pt idx="881">
                  <c:v>0.76607594936708867</c:v>
                </c:pt>
                <c:pt idx="882">
                  <c:v>0.76468354430379748</c:v>
                </c:pt>
                <c:pt idx="883">
                  <c:v>0.77075949367088614</c:v>
                </c:pt>
                <c:pt idx="884">
                  <c:v>0.75164556962025331</c:v>
                </c:pt>
                <c:pt idx="885">
                  <c:v>0.75987341772151895</c:v>
                </c:pt>
                <c:pt idx="886">
                  <c:v>0.73303797468354426</c:v>
                </c:pt>
                <c:pt idx="887">
                  <c:v>0.75556962025316454</c:v>
                </c:pt>
                <c:pt idx="888">
                  <c:v>0.76911392405063295</c:v>
                </c:pt>
                <c:pt idx="889">
                  <c:v>0.78329113924050642</c:v>
                </c:pt>
                <c:pt idx="890">
                  <c:v>0.940126582278481</c:v>
                </c:pt>
                <c:pt idx="891">
                  <c:v>0.940126582278481</c:v>
                </c:pt>
                <c:pt idx="892">
                  <c:v>0.94962025316455689</c:v>
                </c:pt>
                <c:pt idx="893">
                  <c:v>1.0026582278481011</c:v>
                </c:pt>
                <c:pt idx="894">
                  <c:v>0.99468354430379757</c:v>
                </c:pt>
                <c:pt idx="895">
                  <c:v>0.98594936708860759</c:v>
                </c:pt>
                <c:pt idx="896">
                  <c:v>1.008607594936709</c:v>
                </c:pt>
                <c:pt idx="897">
                  <c:v>1.0056962025316458</c:v>
                </c:pt>
                <c:pt idx="898">
                  <c:v>0.99468354430379757</c:v>
                </c:pt>
                <c:pt idx="899">
                  <c:v>0.99481012658227852</c:v>
                </c:pt>
                <c:pt idx="900">
                  <c:v>0.99101265822784823</c:v>
                </c:pt>
                <c:pt idx="901">
                  <c:v>0.98848101265822808</c:v>
                </c:pt>
                <c:pt idx="902">
                  <c:v>0.97531645569620262</c:v>
                </c:pt>
                <c:pt idx="903">
                  <c:v>0.96696202531645581</c:v>
                </c:pt>
                <c:pt idx="904">
                  <c:v>0.98455696202531651</c:v>
                </c:pt>
                <c:pt idx="905">
                  <c:v>1.0070886075949368</c:v>
                </c:pt>
                <c:pt idx="906">
                  <c:v>1.0174683544303798</c:v>
                </c:pt>
                <c:pt idx="907">
                  <c:v>1.000886075949367</c:v>
                </c:pt>
                <c:pt idx="908">
                  <c:v>1.027594936708861</c:v>
                </c:pt>
                <c:pt idx="909">
                  <c:v>1.000886075949367</c:v>
                </c:pt>
                <c:pt idx="910">
                  <c:v>1.0351898734177216</c:v>
                </c:pt>
                <c:pt idx="911">
                  <c:v>1.0174683544303798</c:v>
                </c:pt>
                <c:pt idx="912">
                  <c:v>1.0379746835443038</c:v>
                </c:pt>
                <c:pt idx="913">
                  <c:v>1.0192405063291139</c:v>
                </c:pt>
                <c:pt idx="914">
                  <c:v>0.99962025316455705</c:v>
                </c:pt>
                <c:pt idx="915">
                  <c:v>1.0006329113924051</c:v>
                </c:pt>
                <c:pt idx="916">
                  <c:v>1.0207594936708861</c:v>
                </c:pt>
                <c:pt idx="917">
                  <c:v>1.0356962025316454</c:v>
                </c:pt>
                <c:pt idx="918">
                  <c:v>1.0405063291139243</c:v>
                </c:pt>
                <c:pt idx="919">
                  <c:v>1.0078481012658229</c:v>
                </c:pt>
                <c:pt idx="920">
                  <c:v>1</c:v>
                </c:pt>
                <c:pt idx="921">
                  <c:v>1</c:v>
                </c:pt>
              </c:numCache>
            </c:numRef>
          </c:val>
          <c:smooth val="0"/>
          <c:extLst>
            <c:ext xmlns:c16="http://schemas.microsoft.com/office/drawing/2014/chart" uri="{C3380CC4-5D6E-409C-BE32-E72D297353CC}">
              <c16:uniqueId val="{00000002-B9B2-4D69-9144-C8D4670E5D4F}"/>
            </c:ext>
          </c:extLst>
        </c:ser>
        <c:ser>
          <c:idx val="3"/>
          <c:order val="3"/>
          <c:tx>
            <c:strRef>
              <c:f>Sheet3!$U$1</c:f>
              <c:strCache>
                <c:ptCount val="1"/>
                <c:pt idx="0">
                  <c:v>GITLAB</c:v>
                </c:pt>
              </c:strCache>
            </c:strRef>
          </c:tx>
          <c:spPr>
            <a:ln w="28575" cap="rnd">
              <a:solidFill>
                <a:schemeClr val="accent1"/>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U$2:$U$1410</c:f>
              <c:numCache>
                <c:formatCode>General</c:formatCode>
                <c:ptCount val="1409"/>
                <c:pt idx="429">
                  <c:v>2.1900219555813996</c:v>
                </c:pt>
                <c:pt idx="430">
                  <c:v>2.4242229751839535</c:v>
                </c:pt>
                <c:pt idx="431">
                  <c:v>2.2243826812296592</c:v>
                </c:pt>
                <c:pt idx="432">
                  <c:v>2.2707591207549171</c:v>
                </c:pt>
                <c:pt idx="433">
                  <c:v>2.2252258892210275</c:v>
                </c:pt>
                <c:pt idx="434">
                  <c:v>2.3751061096867483</c:v>
                </c:pt>
                <c:pt idx="435">
                  <c:v>2.5302563800985216</c:v>
                </c:pt>
                <c:pt idx="436">
                  <c:v>2.5696763536949909</c:v>
                </c:pt>
                <c:pt idx="437">
                  <c:v>2.2964769644916516</c:v>
                </c:pt>
                <c:pt idx="438">
                  <c:v>2.2178478192965545</c:v>
                </c:pt>
                <c:pt idx="439">
                  <c:v>2.2724455367376537</c:v>
                </c:pt>
                <c:pt idx="440">
                  <c:v>2.3651984157881709</c:v>
                </c:pt>
                <c:pt idx="441">
                  <c:v>2.4394007190285834</c:v>
                </c:pt>
                <c:pt idx="442">
                  <c:v>2.508754576318629</c:v>
                </c:pt>
                <c:pt idx="443">
                  <c:v>2.3978727254536936</c:v>
                </c:pt>
                <c:pt idx="444">
                  <c:v>2.5091761803143133</c:v>
                </c:pt>
                <c:pt idx="445">
                  <c:v>2.6042478813410925</c:v>
                </c:pt>
                <c:pt idx="446">
                  <c:v>2.7589765477571815</c:v>
                </c:pt>
                <c:pt idx="447">
                  <c:v>2.7575009337722873</c:v>
                </c:pt>
                <c:pt idx="448">
                  <c:v>2.7121785042362392</c:v>
                </c:pt>
                <c:pt idx="449">
                  <c:v>2.5663035217295174</c:v>
                </c:pt>
                <c:pt idx="450">
                  <c:v>2.6350249730260367</c:v>
                </c:pt>
                <c:pt idx="451">
                  <c:v>2.5201378842021014</c:v>
                </c:pt>
                <c:pt idx="452">
                  <c:v>2.5639846997532545</c:v>
                </c:pt>
                <c:pt idx="453">
                  <c:v>2.5095977843099972</c:v>
                </c:pt>
                <c:pt idx="454">
                  <c:v>2.4360278870631102</c:v>
                </c:pt>
                <c:pt idx="455">
                  <c:v>2.361193177829171</c:v>
                </c:pt>
                <c:pt idx="456">
                  <c:v>2.1617744878705603</c:v>
                </c:pt>
                <c:pt idx="457">
                  <c:v>1.9981921375451042</c:v>
                </c:pt>
                <c:pt idx="458">
                  <c:v>2.0416173491005729</c:v>
                </c:pt>
                <c:pt idx="459">
                  <c:v>2.0416173491005729</c:v>
                </c:pt>
                <c:pt idx="460">
                  <c:v>2.0234883772861538</c:v>
                </c:pt>
                <c:pt idx="461">
                  <c:v>2.13476015282298</c:v>
                </c:pt>
                <c:pt idx="462">
                  <c:v>2.0604853544644119</c:v>
                </c:pt>
                <c:pt idx="463">
                  <c:v>1.9063864912032449</c:v>
                </c:pt>
                <c:pt idx="464">
                  <c:v>1.9471522569690112</c:v>
                </c:pt>
                <c:pt idx="465">
                  <c:v>1.8782132918258574</c:v>
                </c:pt>
                <c:pt idx="466">
                  <c:v>1.9029715579453801</c:v>
                </c:pt>
                <c:pt idx="467">
                  <c:v>1.7446040281118818</c:v>
                </c:pt>
                <c:pt idx="468">
                  <c:v>1.7996698268949576</c:v>
                </c:pt>
                <c:pt idx="469">
                  <c:v>1.6417291637186926</c:v>
                </c:pt>
                <c:pt idx="470">
                  <c:v>1.6007499646243102</c:v>
                </c:pt>
                <c:pt idx="471">
                  <c:v>1.552727465685581</c:v>
                </c:pt>
                <c:pt idx="472">
                  <c:v>1.6468515636054906</c:v>
                </c:pt>
                <c:pt idx="473">
                  <c:v>1.7522876279420783</c:v>
                </c:pt>
                <c:pt idx="474">
                  <c:v>1.6457843969624075</c:v>
                </c:pt>
                <c:pt idx="475">
                  <c:v>1.8289101929154288</c:v>
                </c:pt>
                <c:pt idx="476">
                  <c:v>1.9819418895335126</c:v>
                </c:pt>
                <c:pt idx="477">
                  <c:v>2.0242016885995944</c:v>
                </c:pt>
                <c:pt idx="478">
                  <c:v>2.0002971557945379</c:v>
                </c:pt>
                <c:pt idx="479">
                  <c:v>2.0120359888684498</c:v>
                </c:pt>
                <c:pt idx="480">
                  <c:v>2.0120359888684498</c:v>
                </c:pt>
                <c:pt idx="481">
                  <c:v>2.01075538889675</c:v>
                </c:pt>
                <c:pt idx="482">
                  <c:v>1.9710567897740674</c:v>
                </c:pt>
                <c:pt idx="483">
                  <c:v>1.9390417904815813</c:v>
                </c:pt>
                <c:pt idx="484">
                  <c:v>1.9040387245884631</c:v>
                </c:pt>
                <c:pt idx="485">
                  <c:v>1.8568699589641999</c:v>
                </c:pt>
                <c:pt idx="486">
                  <c:v>1.664566529880666</c:v>
                </c:pt>
                <c:pt idx="487">
                  <c:v>1.4699153341823499</c:v>
                </c:pt>
                <c:pt idx="488">
                  <c:v>1.4927527003443235</c:v>
                </c:pt>
                <c:pt idx="489">
                  <c:v>1.5087601999905667</c:v>
                </c:pt>
                <c:pt idx="490">
                  <c:v>1.5559289656148296</c:v>
                </c:pt>
                <c:pt idx="491">
                  <c:v>1.5759916985047877</c:v>
                </c:pt>
                <c:pt idx="492">
                  <c:v>1.5147363331918307</c:v>
                </c:pt>
                <c:pt idx="493">
                  <c:v>1.3986286024244139</c:v>
                </c:pt>
                <c:pt idx="494">
                  <c:v>1.3672539031177777</c:v>
                </c:pt>
                <c:pt idx="495">
                  <c:v>1.3672539031177777</c:v>
                </c:pt>
                <c:pt idx="496">
                  <c:v>1.2852955049290129</c:v>
                </c:pt>
                <c:pt idx="497">
                  <c:v>1.2673671053252207</c:v>
                </c:pt>
                <c:pt idx="498">
                  <c:v>1.302797037875572</c:v>
                </c:pt>
                <c:pt idx="499">
                  <c:v>1.278679071741899</c:v>
                </c:pt>
                <c:pt idx="500">
                  <c:v>1.283161171642847</c:v>
                </c:pt>
                <c:pt idx="501">
                  <c:v>1.1888236403943211</c:v>
                </c:pt>
                <c:pt idx="502">
                  <c:v>1.2323640394321023</c:v>
                </c:pt>
                <c:pt idx="503">
                  <c:v>1.289137304844111</c:v>
                </c:pt>
                <c:pt idx="504">
                  <c:v>1.301729871232489</c:v>
                </c:pt>
                <c:pt idx="505">
                  <c:v>1.5634260294325739</c:v>
                </c:pt>
                <c:pt idx="506">
                  <c:v>1.6108419414178579</c:v>
                </c:pt>
                <c:pt idx="507">
                  <c:v>1.7039416772793736</c:v>
                </c:pt>
                <c:pt idx="508">
                  <c:v>1.6450506815716242</c:v>
                </c:pt>
                <c:pt idx="509">
                  <c:v>1.5567141880099995</c:v>
                </c:pt>
                <c:pt idx="510">
                  <c:v>1.5493528135465311</c:v>
                </c:pt>
                <c:pt idx="511">
                  <c:v>1.6346581529173154</c:v>
                </c:pt>
                <c:pt idx="512">
                  <c:v>1.5785818003867742</c:v>
                </c:pt>
                <c:pt idx="513">
                  <c:v>1.4465100820716006</c:v>
                </c:pt>
                <c:pt idx="514">
                  <c:v>1.3267794915334183</c:v>
                </c:pt>
                <c:pt idx="515">
                  <c:v>1.3267794915334183</c:v>
                </c:pt>
                <c:pt idx="516">
                  <c:v>1.2676719848120372</c:v>
                </c:pt>
                <c:pt idx="517">
                  <c:v>1.1905940639592472</c:v>
                </c:pt>
                <c:pt idx="518">
                  <c:v>1.25901154426678</c:v>
                </c:pt>
                <c:pt idx="519">
                  <c:v>1.2312981345219565</c:v>
                </c:pt>
                <c:pt idx="520">
                  <c:v>1.261609676430357</c:v>
                </c:pt>
                <c:pt idx="521">
                  <c:v>1.1776034031413614</c:v>
                </c:pt>
                <c:pt idx="522">
                  <c:v>1.2012031036271875</c:v>
                </c:pt>
                <c:pt idx="523">
                  <c:v>1.0606874557803878</c:v>
                </c:pt>
                <c:pt idx="524">
                  <c:v>0.96867027498702907</c:v>
                </c:pt>
                <c:pt idx="525">
                  <c:v>0.81949418659497197</c:v>
                </c:pt>
                <c:pt idx="526">
                  <c:v>0.85521850384415843</c:v>
                </c:pt>
                <c:pt idx="527">
                  <c:v>0.87903471534361588</c:v>
                </c:pt>
                <c:pt idx="528">
                  <c:v>0.851537816612424</c:v>
                </c:pt>
                <c:pt idx="529">
                  <c:v>0.76861409839158534</c:v>
                </c:pt>
                <c:pt idx="530">
                  <c:v>0.71665145512004158</c:v>
                </c:pt>
                <c:pt idx="531">
                  <c:v>0.77229478562331966</c:v>
                </c:pt>
                <c:pt idx="532">
                  <c:v>0.92536807226074247</c:v>
                </c:pt>
                <c:pt idx="533">
                  <c:v>1.0695644073392767</c:v>
                </c:pt>
                <c:pt idx="534">
                  <c:v>1.3594726545917646</c:v>
                </c:pt>
                <c:pt idx="535">
                  <c:v>1.2351953327673224</c:v>
                </c:pt>
                <c:pt idx="536">
                  <c:v>1.233463244658271</c:v>
                </c:pt>
                <c:pt idx="537">
                  <c:v>1.1732731828687328</c:v>
                </c:pt>
                <c:pt idx="538">
                  <c:v>1.1423121079194378</c:v>
                </c:pt>
                <c:pt idx="539">
                  <c:v>1.0944631739068913</c:v>
                </c:pt>
                <c:pt idx="540">
                  <c:v>1.1639632092825811</c:v>
                </c:pt>
                <c:pt idx="541">
                  <c:v>1.2477529715579454</c:v>
                </c:pt>
                <c:pt idx="542">
                  <c:v>1.166994363473421</c:v>
                </c:pt>
                <c:pt idx="543">
                  <c:v>1.1789024692231498</c:v>
                </c:pt>
                <c:pt idx="544">
                  <c:v>1.1896207726050658</c:v>
                </c:pt>
                <c:pt idx="545">
                  <c:v>1.1648188764680913</c:v>
                </c:pt>
                <c:pt idx="546">
                  <c:v>1.0849741757464271</c:v>
                </c:pt>
                <c:pt idx="547">
                  <c:v>1.0381986698740626</c:v>
                </c:pt>
                <c:pt idx="548">
                  <c:v>1.0083928824112069</c:v>
                </c:pt>
                <c:pt idx="549">
                  <c:v>1.0231869958964201</c:v>
                </c:pt>
                <c:pt idx="550">
                  <c:v>1.1065126644969578</c:v>
                </c:pt>
                <c:pt idx="551">
                  <c:v>1.0978102447997737</c:v>
                </c:pt>
                <c:pt idx="552">
                  <c:v>1.0978102447997737</c:v>
                </c:pt>
                <c:pt idx="553">
                  <c:v>1.0986804867694919</c:v>
                </c:pt>
                <c:pt idx="554">
                  <c:v>1.1880978491580587</c:v>
                </c:pt>
                <c:pt idx="555">
                  <c:v>1.1750442196122826</c:v>
                </c:pt>
                <c:pt idx="556">
                  <c:v>1.0471186500636762</c:v>
                </c:pt>
                <c:pt idx="557">
                  <c:v>1.0477713315409651</c:v>
                </c:pt>
                <c:pt idx="558">
                  <c:v>1.1659066789302392</c:v>
                </c:pt>
                <c:pt idx="559">
                  <c:v>1.1089058299136834</c:v>
                </c:pt>
                <c:pt idx="560">
                  <c:v>1.0934590349511817</c:v>
                </c:pt>
                <c:pt idx="561">
                  <c:v>1.1169555681335788</c:v>
                </c:pt>
                <c:pt idx="562">
                  <c:v>1.0427674402150844</c:v>
                </c:pt>
                <c:pt idx="563">
                  <c:v>1.0399470072166408</c:v>
                </c:pt>
                <c:pt idx="564">
                  <c:v>0.92200365548794871</c:v>
                </c:pt>
                <c:pt idx="565">
                  <c:v>0.80340748077920865</c:v>
                </c:pt>
                <c:pt idx="566">
                  <c:v>0.79992575821895207</c:v>
                </c:pt>
                <c:pt idx="567">
                  <c:v>0.75031121173529547</c:v>
                </c:pt>
                <c:pt idx="568">
                  <c:v>0.82364499316070006</c:v>
                </c:pt>
                <c:pt idx="569">
                  <c:v>0.96922451771142881</c:v>
                </c:pt>
                <c:pt idx="570">
                  <c:v>0.86738413282392346</c:v>
                </c:pt>
                <c:pt idx="571">
                  <c:v>0.87500040092448472</c:v>
                </c:pt>
                <c:pt idx="572">
                  <c:v>0.82038087826045947</c:v>
                </c:pt>
                <c:pt idx="573">
                  <c:v>0.84932269704259244</c:v>
                </c:pt>
                <c:pt idx="574">
                  <c:v>0.82146891656053966</c:v>
                </c:pt>
                <c:pt idx="575">
                  <c:v>0.82429781614074815</c:v>
                </c:pt>
                <c:pt idx="576">
                  <c:v>0.75814508749587295</c:v>
                </c:pt>
                <c:pt idx="577">
                  <c:v>0.80710681099948134</c:v>
                </c:pt>
                <c:pt idx="578">
                  <c:v>0.87195389368426024</c:v>
                </c:pt>
                <c:pt idx="579">
                  <c:v>0.93440729210886286</c:v>
                </c:pt>
                <c:pt idx="580">
                  <c:v>0.93440729210886286</c:v>
                </c:pt>
                <c:pt idx="581">
                  <c:v>0.84775452808829777</c:v>
                </c:pt>
                <c:pt idx="582">
                  <c:v>0.83447434672892795</c:v>
                </c:pt>
                <c:pt idx="583">
                  <c:v>0.97750843120607533</c:v>
                </c:pt>
                <c:pt idx="584">
                  <c:v>0.86734823829064678</c:v>
                </c:pt>
                <c:pt idx="585">
                  <c:v>1.1103102447997737</c:v>
                </c:pt>
                <c:pt idx="586">
                  <c:v>1.0961592318758551</c:v>
                </c:pt>
                <c:pt idx="587">
                  <c:v>1.070251992830527</c:v>
                </c:pt>
                <c:pt idx="588">
                  <c:v>0.97859697066176121</c:v>
                </c:pt>
                <c:pt idx="589">
                  <c:v>0.92569395311541913</c:v>
                </c:pt>
                <c:pt idx="590">
                  <c:v>0.98273342059336832</c:v>
                </c:pt>
                <c:pt idx="591">
                  <c:v>1.0415145512004154</c:v>
                </c:pt>
                <c:pt idx="592">
                  <c:v>0.95639076576576576</c:v>
                </c:pt>
                <c:pt idx="593">
                  <c:v>0.9581324288948635</c:v>
                </c:pt>
                <c:pt idx="594">
                  <c:v>0.9581324288948635</c:v>
                </c:pt>
                <c:pt idx="595">
                  <c:v>1.0173489752841849</c:v>
                </c:pt>
                <c:pt idx="596">
                  <c:v>1.0423853827649641</c:v>
                </c:pt>
                <c:pt idx="597">
                  <c:v>1.1523278677892552</c:v>
                </c:pt>
                <c:pt idx="598">
                  <c:v>1.1834600962218764</c:v>
                </c:pt>
                <c:pt idx="599">
                  <c:v>1.1747517805763881</c:v>
                </c:pt>
                <c:pt idx="600">
                  <c:v>1.124025841941418</c:v>
                </c:pt>
                <c:pt idx="601">
                  <c:v>1.1629955544549786</c:v>
                </c:pt>
                <c:pt idx="602">
                  <c:v>1.1568997335031368</c:v>
                </c:pt>
                <c:pt idx="603">
                  <c:v>1.1832423883307392</c:v>
                </c:pt>
                <c:pt idx="604">
                  <c:v>1.1832423883307392</c:v>
                </c:pt>
                <c:pt idx="605">
                  <c:v>1.2877421760766001</c:v>
                </c:pt>
                <c:pt idx="606">
                  <c:v>1.2193818982595162</c:v>
                </c:pt>
                <c:pt idx="607">
                  <c:v>1.2864359287297771</c:v>
                </c:pt>
                <c:pt idx="608">
                  <c:v>1.2587870265553511</c:v>
                </c:pt>
                <c:pt idx="609">
                  <c:v>1.2489901714541767</c:v>
                </c:pt>
                <c:pt idx="610">
                  <c:v>1.1806298936370927</c:v>
                </c:pt>
                <c:pt idx="611">
                  <c:v>1.213068369416537</c:v>
                </c:pt>
                <c:pt idx="612">
                  <c:v>1.1747517805763881</c:v>
                </c:pt>
                <c:pt idx="613">
                  <c:v>1.2265662586670443</c:v>
                </c:pt>
                <c:pt idx="614">
                  <c:v>1.2670599264185651</c:v>
                </c:pt>
                <c:pt idx="615">
                  <c:v>1.2496432951275882</c:v>
                </c:pt>
                <c:pt idx="616">
                  <c:v>1.2520380819300976</c:v>
                </c:pt>
                <c:pt idx="617">
                  <c:v>1.268801589547663</c:v>
                </c:pt>
                <c:pt idx="618">
                  <c:v>1.2583516107730768</c:v>
                </c:pt>
                <c:pt idx="619">
                  <c:v>1.2095850431583415</c:v>
                </c:pt>
                <c:pt idx="620">
                  <c:v>1.1388299785387483</c:v>
                </c:pt>
                <c:pt idx="621">
                  <c:v>1.1967402775812463</c:v>
                </c:pt>
                <c:pt idx="622">
                  <c:v>1.2082787958115184</c:v>
                </c:pt>
                <c:pt idx="623">
                  <c:v>1.2496432951275882</c:v>
                </c:pt>
                <c:pt idx="624">
                  <c:v>1.2784404774538938</c:v>
                </c:pt>
                <c:pt idx="625">
                  <c:v>1.3231749298382152</c:v>
                </c:pt>
                <c:pt idx="626">
                  <c:v>1.3753651242865903</c:v>
                </c:pt>
                <c:pt idx="627">
                  <c:v>1.3887416026956276</c:v>
                </c:pt>
                <c:pt idx="628">
                  <c:v>1.4435632355195511</c:v>
                </c:pt>
                <c:pt idx="629">
                  <c:v>1.4608868714919108</c:v>
                </c:pt>
                <c:pt idx="630">
                  <c:v>1.4356689203929061</c:v>
                </c:pt>
                <c:pt idx="631">
                  <c:v>1.4983848683434744</c:v>
                </c:pt>
                <c:pt idx="632">
                  <c:v>1.5051827508136408</c:v>
                </c:pt>
                <c:pt idx="633">
                  <c:v>1.5165856504410171</c:v>
                </c:pt>
                <c:pt idx="634">
                  <c:v>1.5336899998820812</c:v>
                </c:pt>
                <c:pt idx="635">
                  <c:v>1.4821576650275932</c:v>
                </c:pt>
                <c:pt idx="636">
                  <c:v>1.4279938917975568</c:v>
                </c:pt>
                <c:pt idx="637">
                  <c:v>1.406284525199283</c:v>
                </c:pt>
                <c:pt idx="638">
                  <c:v>1.3391828466228008</c:v>
                </c:pt>
                <c:pt idx="639">
                  <c:v>1.3005884171147588</c:v>
                </c:pt>
                <c:pt idx="640">
                  <c:v>1.3608922132210746</c:v>
                </c:pt>
                <c:pt idx="641">
                  <c:v>1.3937851929154288</c:v>
                </c:pt>
                <c:pt idx="642">
                  <c:v>1.4363267799867931</c:v>
                </c:pt>
                <c:pt idx="643">
                  <c:v>1.4128631211381544</c:v>
                </c:pt>
                <c:pt idx="644">
                  <c:v>1.3760229838804774</c:v>
                </c:pt>
                <c:pt idx="645">
                  <c:v>1.3670793830479695</c:v>
                </c:pt>
                <c:pt idx="646">
                  <c:v>1.3131243809254283</c:v>
                </c:pt>
                <c:pt idx="647">
                  <c:v>1.1082708362813076</c:v>
                </c:pt>
                <c:pt idx="648">
                  <c:v>1.0595797368048676</c:v>
                </c:pt>
                <c:pt idx="649">
                  <c:v>1.0595797368048676</c:v>
                </c:pt>
                <c:pt idx="650">
                  <c:v>1.0396207726050659</c:v>
                </c:pt>
                <c:pt idx="651">
                  <c:v>1.1878873638035941</c:v>
                </c:pt>
                <c:pt idx="652">
                  <c:v>1.2124522428187352</c:v>
                </c:pt>
                <c:pt idx="653">
                  <c:v>1.2716711475873781</c:v>
                </c:pt>
                <c:pt idx="654">
                  <c:v>1.2771543795104006</c:v>
                </c:pt>
                <c:pt idx="655">
                  <c:v>1.3425145040328286</c:v>
                </c:pt>
                <c:pt idx="656">
                  <c:v>1.3205815763407387</c:v>
                </c:pt>
                <c:pt idx="657">
                  <c:v>1.2585113909721239</c:v>
                </c:pt>
                <c:pt idx="658">
                  <c:v>1.2126715720956558</c:v>
                </c:pt>
                <c:pt idx="659">
                  <c:v>1.1874487052497524</c:v>
                </c:pt>
                <c:pt idx="660">
                  <c:v>1.2109169378802886</c:v>
                </c:pt>
                <c:pt idx="661">
                  <c:v>1.1148507145889346</c:v>
                </c:pt>
                <c:pt idx="662">
                  <c:v>1.0505872364511109</c:v>
                </c:pt>
                <c:pt idx="663">
                  <c:v>1.0378661383896988</c:v>
                </c:pt>
                <c:pt idx="664">
                  <c:v>1.107612848450545</c:v>
                </c:pt>
                <c:pt idx="665">
                  <c:v>1.1598132163577191</c:v>
                </c:pt>
                <c:pt idx="666">
                  <c:v>1.1521366916654876</c:v>
                </c:pt>
                <c:pt idx="667">
                  <c:v>1.1234045563888497</c:v>
                </c:pt>
                <c:pt idx="668">
                  <c:v>1.0869958964199802</c:v>
                </c:pt>
                <c:pt idx="669">
                  <c:v>1.0630890052356021</c:v>
                </c:pt>
                <c:pt idx="670">
                  <c:v>1.0422527239281167</c:v>
                </c:pt>
                <c:pt idx="671">
                  <c:v>1.0440073581434839</c:v>
                </c:pt>
                <c:pt idx="672">
                  <c:v>0.91964765812933358</c:v>
                </c:pt>
                <c:pt idx="673">
                  <c:v>0.98742040469789172</c:v>
                </c:pt>
                <c:pt idx="674">
                  <c:v>1.0584830904202631</c:v>
                </c:pt>
                <c:pt idx="675">
                  <c:v>0.99750955143625308</c:v>
                </c:pt>
                <c:pt idx="676">
                  <c:v>1.0279963209282581</c:v>
                </c:pt>
                <c:pt idx="677">
                  <c:v>1.0527805292203201</c:v>
                </c:pt>
                <c:pt idx="678">
                  <c:v>1.0718621763124381</c:v>
                </c:pt>
                <c:pt idx="679">
                  <c:v>1.1214305928965616</c:v>
                </c:pt>
                <c:pt idx="680">
                  <c:v>1.0470779680203766</c:v>
                </c:pt>
                <c:pt idx="681">
                  <c:v>1.0918211405122402</c:v>
                </c:pt>
                <c:pt idx="682">
                  <c:v>1.0758101032970144</c:v>
                </c:pt>
                <c:pt idx="683">
                  <c:v>1.0689697478892506</c:v>
                </c:pt>
                <c:pt idx="684">
                  <c:v>1.0310286012452243</c:v>
                </c:pt>
                <c:pt idx="685">
                  <c:v>0.92404339123154577</c:v>
                </c:pt>
                <c:pt idx="686">
                  <c:v>0.91764633743691348</c:v>
                </c:pt>
                <c:pt idx="687">
                  <c:v>0.80977877517569929</c:v>
                </c:pt>
                <c:pt idx="688">
                  <c:v>0.79279349441064106</c:v>
                </c:pt>
                <c:pt idx="689">
                  <c:v>0.80382289750483471</c:v>
                </c:pt>
                <c:pt idx="690">
                  <c:v>0.75485234776661481</c:v>
                </c:pt>
                <c:pt idx="691">
                  <c:v>0.94830807803877182</c:v>
                </c:pt>
                <c:pt idx="692">
                  <c:v>1.0138227324182822</c:v>
                </c:pt>
                <c:pt idx="693">
                  <c:v>0.99794039196264339</c:v>
                </c:pt>
                <c:pt idx="694">
                  <c:v>1.0508815268147731</c:v>
                </c:pt>
                <c:pt idx="695">
                  <c:v>0.96595512298948172</c:v>
                </c:pt>
                <c:pt idx="696">
                  <c:v>0.90595517015706817</c:v>
                </c:pt>
                <c:pt idx="697">
                  <c:v>0.88367577590679691</c:v>
                </c:pt>
                <c:pt idx="698">
                  <c:v>0.8430875725201642</c:v>
                </c:pt>
                <c:pt idx="699">
                  <c:v>0.83470522616857723</c:v>
                </c:pt>
                <c:pt idx="700">
                  <c:v>0.87595519374086139</c:v>
                </c:pt>
                <c:pt idx="701">
                  <c:v>0.87595519374086139</c:v>
                </c:pt>
                <c:pt idx="702">
                  <c:v>0.86938410924013021</c:v>
                </c:pt>
                <c:pt idx="703">
                  <c:v>0.85724803664921478</c:v>
                </c:pt>
                <c:pt idx="704">
                  <c:v>0.8470978668459036</c:v>
                </c:pt>
                <c:pt idx="705">
                  <c:v>0.8726939472194708</c:v>
                </c:pt>
                <c:pt idx="706">
                  <c:v>0.94749628555256837</c:v>
                </c:pt>
                <c:pt idx="707">
                  <c:v>0.91064675604924306</c:v>
                </c:pt>
                <c:pt idx="708">
                  <c:v>0.84577393165416725</c:v>
                </c:pt>
                <c:pt idx="709">
                  <c:v>0.92565135488892036</c:v>
                </c:pt>
                <c:pt idx="710">
                  <c:v>0.94396579170793826</c:v>
                </c:pt>
                <c:pt idx="711">
                  <c:v>1.0465707690674968</c:v>
                </c:pt>
                <c:pt idx="712">
                  <c:v>1.0231812473468234</c:v>
                </c:pt>
                <c:pt idx="713">
                  <c:v>1.0865094806848736</c:v>
                </c:pt>
                <c:pt idx="714">
                  <c:v>1.0876127600113203</c:v>
                </c:pt>
                <c:pt idx="715">
                  <c:v>1.0966596504881845</c:v>
                </c:pt>
                <c:pt idx="716">
                  <c:v>1.0774625902080093</c:v>
                </c:pt>
                <c:pt idx="717">
                  <c:v>1.0982042415452102</c:v>
                </c:pt>
                <c:pt idx="718">
                  <c:v>0.99692319937738794</c:v>
                </c:pt>
                <c:pt idx="719">
                  <c:v>1.0251671501344277</c:v>
                </c:pt>
                <c:pt idx="720">
                  <c:v>1.062016679637753</c:v>
                </c:pt>
                <c:pt idx="721">
                  <c:v>1.0121484540823547</c:v>
                </c:pt>
                <c:pt idx="722">
                  <c:v>1.0178855065798784</c:v>
                </c:pt>
                <c:pt idx="723">
                  <c:v>1.0178855065798784</c:v>
                </c:pt>
                <c:pt idx="724">
                  <c:v>0.96978252794679498</c:v>
                </c:pt>
                <c:pt idx="725">
                  <c:v>0.95897039054761568</c:v>
                </c:pt>
                <c:pt idx="726">
                  <c:v>1.0139137010046697</c:v>
                </c:pt>
                <c:pt idx="727">
                  <c:v>1.0026602518749117</c:v>
                </c:pt>
                <c:pt idx="728">
                  <c:v>0.96934121621621627</c:v>
                </c:pt>
                <c:pt idx="729">
                  <c:v>0.93933201853686155</c:v>
                </c:pt>
                <c:pt idx="730">
                  <c:v>0.84312606127069478</c:v>
                </c:pt>
                <c:pt idx="731">
                  <c:v>0.85460016626574231</c:v>
                </c:pt>
                <c:pt idx="732">
                  <c:v>0.88615395500212235</c:v>
                </c:pt>
                <c:pt idx="733">
                  <c:v>0.9051303594170087</c:v>
                </c:pt>
                <c:pt idx="734">
                  <c:v>0.95874973468232638</c:v>
                </c:pt>
                <c:pt idx="735">
                  <c:v>0.98280122399886793</c:v>
                </c:pt>
                <c:pt idx="736">
                  <c:v>0.992289426206311</c:v>
                </c:pt>
                <c:pt idx="737">
                  <c:v>0.992289426206311</c:v>
                </c:pt>
                <c:pt idx="738">
                  <c:v>1.0353173199377388</c:v>
                </c:pt>
                <c:pt idx="739">
                  <c:v>1.0273737087873216</c:v>
                </c:pt>
                <c:pt idx="740">
                  <c:v>0.97551958044431886</c:v>
                </c:pt>
                <c:pt idx="741">
                  <c:v>1.0209746886939295</c:v>
                </c:pt>
                <c:pt idx="742">
                  <c:v>1.0730494729022217</c:v>
                </c:pt>
                <c:pt idx="743">
                  <c:v>1.1007772392811659</c:v>
                </c:pt>
                <c:pt idx="744">
                  <c:v>1.2063769987264752</c:v>
                </c:pt>
                <c:pt idx="745">
                  <c:v>1.3048476604877128</c:v>
                </c:pt>
                <c:pt idx="746">
                  <c:v>1.1629340597141644</c:v>
                </c:pt>
                <c:pt idx="747">
                  <c:v>1.1190455520965992</c:v>
                </c:pt>
                <c:pt idx="748">
                  <c:v>1.1620429225036553</c:v>
                </c:pt>
                <c:pt idx="749">
                  <c:v>1.0967671218338759</c:v>
                </c:pt>
                <c:pt idx="750">
                  <c:v>0.94248899226451588</c:v>
                </c:pt>
                <c:pt idx="751">
                  <c:v>0.92611434602141418</c:v>
                </c:pt>
                <c:pt idx="752">
                  <c:v>0.96331932456016234</c:v>
                </c:pt>
                <c:pt idx="753">
                  <c:v>1.0528786142163105</c:v>
                </c:pt>
                <c:pt idx="754">
                  <c:v>1.0967671218338759</c:v>
                </c:pt>
                <c:pt idx="755">
                  <c:v>1.0526558299136832</c:v>
                </c:pt>
                <c:pt idx="756">
                  <c:v>1.0125546554407812</c:v>
                </c:pt>
                <c:pt idx="757">
                  <c:v>1.0125546554407812</c:v>
                </c:pt>
                <c:pt idx="758">
                  <c:v>0.98448383330974965</c:v>
                </c:pt>
                <c:pt idx="759">
                  <c:v>0.98738002924390356</c:v>
                </c:pt>
                <c:pt idx="760">
                  <c:v>0.99740532286212924</c:v>
                </c:pt>
                <c:pt idx="761">
                  <c:v>0.96599273619168902</c:v>
                </c:pt>
                <c:pt idx="762">
                  <c:v>0.97312183387576068</c:v>
                </c:pt>
                <c:pt idx="763">
                  <c:v>0.98114206877034094</c:v>
                </c:pt>
                <c:pt idx="764">
                  <c:v>0.95396238384981857</c:v>
                </c:pt>
                <c:pt idx="765">
                  <c:v>1.1134759445309184</c:v>
                </c:pt>
                <c:pt idx="766">
                  <c:v>1.164270765529928</c:v>
                </c:pt>
                <c:pt idx="767">
                  <c:v>1.1404328451488137</c:v>
                </c:pt>
                <c:pt idx="768">
                  <c:v>1.1103569642941371</c:v>
                </c:pt>
                <c:pt idx="769">
                  <c:v>1.1145898660440545</c:v>
                </c:pt>
                <c:pt idx="770">
                  <c:v>1.0553292415452102</c:v>
                </c:pt>
                <c:pt idx="771">
                  <c:v>0.98815977430309887</c:v>
                </c:pt>
                <c:pt idx="772">
                  <c:v>0.99361798971746618</c:v>
                </c:pt>
                <c:pt idx="773">
                  <c:v>0.7565754917220886</c:v>
                </c:pt>
                <c:pt idx="774">
                  <c:v>0.74521349228809963</c:v>
                </c:pt>
                <c:pt idx="775">
                  <c:v>0.78464631385312011</c:v>
                </c:pt>
                <c:pt idx="776">
                  <c:v>0.82251964529975008</c:v>
                </c:pt>
                <c:pt idx="777">
                  <c:v>0.81109823829064676</c:v>
                </c:pt>
                <c:pt idx="778">
                  <c:v>0.84980720249044861</c:v>
                </c:pt>
                <c:pt idx="779">
                  <c:v>0.80930822838545347</c:v>
                </c:pt>
                <c:pt idx="780">
                  <c:v>0.8263133224847885</c:v>
                </c:pt>
                <c:pt idx="781">
                  <c:v>0.75493667751521165</c:v>
                </c:pt>
                <c:pt idx="782">
                  <c:v>0.75941170227819443</c:v>
                </c:pt>
                <c:pt idx="783">
                  <c:v>0.7585166973255979</c:v>
                </c:pt>
                <c:pt idx="784">
                  <c:v>0.75135665770482529</c:v>
                </c:pt>
                <c:pt idx="785">
                  <c:v>0.73860283713032415</c:v>
                </c:pt>
                <c:pt idx="786">
                  <c:v>0.76724299561341447</c:v>
                </c:pt>
                <c:pt idx="787">
                  <c:v>0.76836175180416033</c:v>
                </c:pt>
                <c:pt idx="788">
                  <c:v>0.76590048818451961</c:v>
                </c:pt>
                <c:pt idx="789">
                  <c:v>0.74732913541814072</c:v>
                </c:pt>
                <c:pt idx="790">
                  <c:v>0.74732913541814072</c:v>
                </c:pt>
                <c:pt idx="791">
                  <c:v>0.75135665770482529</c:v>
                </c:pt>
                <c:pt idx="792">
                  <c:v>0.74039284703551733</c:v>
                </c:pt>
                <c:pt idx="793">
                  <c:v>0.75784544361115047</c:v>
                </c:pt>
                <c:pt idx="794">
                  <c:v>0.74128785198811376</c:v>
                </c:pt>
                <c:pt idx="795">
                  <c:v>0.72361150417433162</c:v>
                </c:pt>
                <c:pt idx="796">
                  <c:v>0.73323280741474472</c:v>
                </c:pt>
                <c:pt idx="797">
                  <c:v>0.73658907598698176</c:v>
                </c:pt>
                <c:pt idx="798">
                  <c:v>0.73793158341587661</c:v>
                </c:pt>
                <c:pt idx="799">
                  <c:v>0.72786277769916519</c:v>
                </c:pt>
                <c:pt idx="800">
                  <c:v>0.73681282722513097</c:v>
                </c:pt>
                <c:pt idx="801">
                  <c:v>0.72808652893731429</c:v>
                </c:pt>
                <c:pt idx="802">
                  <c:v>0.68557379368897697</c:v>
                </c:pt>
                <c:pt idx="803">
                  <c:v>0.69027256969010897</c:v>
                </c:pt>
                <c:pt idx="804">
                  <c:v>0.69989387293052219</c:v>
                </c:pt>
                <c:pt idx="805">
                  <c:v>0.67930875902080101</c:v>
                </c:pt>
                <c:pt idx="806">
                  <c:v>0.60250572054384233</c:v>
                </c:pt>
                <c:pt idx="807">
                  <c:v>0.62366206635300225</c:v>
                </c:pt>
                <c:pt idx="808">
                  <c:v>0.67992894350502342</c:v>
                </c:pt>
                <c:pt idx="809">
                  <c:v>0.69950981675392676</c:v>
                </c:pt>
                <c:pt idx="810">
                  <c:v>0.68195455108249614</c:v>
                </c:pt>
                <c:pt idx="811">
                  <c:v>0.65314590998066135</c:v>
                </c:pt>
                <c:pt idx="812">
                  <c:v>0.6468440197396349</c:v>
                </c:pt>
                <c:pt idx="813">
                  <c:v>0.69140738644403565</c:v>
                </c:pt>
                <c:pt idx="814">
                  <c:v>0.68262975360832046</c:v>
                </c:pt>
                <c:pt idx="815">
                  <c:v>0.71593974488231693</c:v>
                </c:pt>
                <c:pt idx="816">
                  <c:v>0.73259474051931517</c:v>
                </c:pt>
                <c:pt idx="817">
                  <c:v>0.7352955506226122</c:v>
                </c:pt>
                <c:pt idx="818">
                  <c:v>0.77918371480118864</c:v>
                </c:pt>
                <c:pt idx="819">
                  <c:v>0.76635486681052778</c:v>
                </c:pt>
                <c:pt idx="820">
                  <c:v>0.76905567691382493</c:v>
                </c:pt>
                <c:pt idx="821">
                  <c:v>0.74249771089807082</c:v>
                </c:pt>
                <c:pt idx="822">
                  <c:v>0.78040540540540548</c:v>
                </c:pt>
                <c:pt idx="823">
                  <c:v>0.78040540540540548</c:v>
                </c:pt>
                <c:pt idx="824">
                  <c:v>0.80518018018018023</c:v>
                </c:pt>
                <c:pt idx="825">
                  <c:v>0.83243243243243248</c:v>
                </c:pt>
                <c:pt idx="826">
                  <c:v>0.80945945945945952</c:v>
                </c:pt>
                <c:pt idx="827">
                  <c:v>0.75968468468468464</c:v>
                </c:pt>
                <c:pt idx="828">
                  <c:v>0.79729729729729737</c:v>
                </c:pt>
                <c:pt idx="829">
                  <c:v>1.0459459459459459</c:v>
                </c:pt>
                <c:pt idx="830">
                  <c:v>1.0603603603603604</c:v>
                </c:pt>
                <c:pt idx="831">
                  <c:v>1.0328828828828829</c:v>
                </c:pt>
                <c:pt idx="832">
                  <c:v>1.0626126126126128</c:v>
                </c:pt>
                <c:pt idx="833">
                  <c:v>1.1060810810810813</c:v>
                </c:pt>
                <c:pt idx="834">
                  <c:v>1.1414414414414416</c:v>
                </c:pt>
                <c:pt idx="835">
                  <c:v>1.1443693693693695</c:v>
                </c:pt>
                <c:pt idx="836">
                  <c:v>1.2036036036036035</c:v>
                </c:pt>
                <c:pt idx="837">
                  <c:v>1.154054054054054</c:v>
                </c:pt>
                <c:pt idx="838">
                  <c:v>1.154054054054054</c:v>
                </c:pt>
                <c:pt idx="839">
                  <c:v>1.1162162162162164</c:v>
                </c:pt>
                <c:pt idx="840">
                  <c:v>1.0536036036036036</c:v>
                </c:pt>
                <c:pt idx="841">
                  <c:v>1.1049549549549549</c:v>
                </c:pt>
                <c:pt idx="842">
                  <c:v>1.1076576576576578</c:v>
                </c:pt>
                <c:pt idx="843">
                  <c:v>1.1198198198198199</c:v>
                </c:pt>
                <c:pt idx="844">
                  <c:v>1.1148648648648649</c:v>
                </c:pt>
                <c:pt idx="845">
                  <c:v>1.1511261261261263</c:v>
                </c:pt>
                <c:pt idx="846">
                  <c:v>1.1430180180180183</c:v>
                </c:pt>
                <c:pt idx="847">
                  <c:v>1.1430180180180183</c:v>
                </c:pt>
                <c:pt idx="848">
                  <c:v>1.1414414414414416</c:v>
                </c:pt>
                <c:pt idx="849">
                  <c:v>1.1202702702702703</c:v>
                </c:pt>
                <c:pt idx="850">
                  <c:v>1.1022522522522524</c:v>
                </c:pt>
                <c:pt idx="851">
                  <c:v>1.1340090090090089</c:v>
                </c:pt>
                <c:pt idx="852">
                  <c:v>1.1513513513513516</c:v>
                </c:pt>
                <c:pt idx="853">
                  <c:v>1.1914414414414414</c:v>
                </c:pt>
                <c:pt idx="854">
                  <c:v>1.2189189189189189</c:v>
                </c:pt>
                <c:pt idx="855">
                  <c:v>1.1731981981981985</c:v>
                </c:pt>
                <c:pt idx="856">
                  <c:v>1.1934684684684687</c:v>
                </c:pt>
                <c:pt idx="857">
                  <c:v>1.2153153153153153</c:v>
                </c:pt>
                <c:pt idx="858">
                  <c:v>1.1752252252252251</c:v>
                </c:pt>
                <c:pt idx="859">
                  <c:v>1.1195945945945946</c:v>
                </c:pt>
                <c:pt idx="860">
                  <c:v>1.1261261261261262</c:v>
                </c:pt>
                <c:pt idx="861">
                  <c:v>1.1099099099099101</c:v>
                </c:pt>
                <c:pt idx="862">
                  <c:v>1.1006756756756757</c:v>
                </c:pt>
                <c:pt idx="863">
                  <c:v>1.0907657657657659</c:v>
                </c:pt>
                <c:pt idx="864">
                  <c:v>1.0557432432432432</c:v>
                </c:pt>
                <c:pt idx="865">
                  <c:v>1.0806306306306306</c:v>
                </c:pt>
                <c:pt idx="866">
                  <c:v>1.1177927927927929</c:v>
                </c:pt>
                <c:pt idx="867">
                  <c:v>1.0923423423423424</c:v>
                </c:pt>
                <c:pt idx="868">
                  <c:v>1.0352477477477477</c:v>
                </c:pt>
                <c:pt idx="869">
                  <c:v>1.0596846846846846</c:v>
                </c:pt>
                <c:pt idx="870">
                  <c:v>1.0713963963963964</c:v>
                </c:pt>
                <c:pt idx="871">
                  <c:v>1.0675675675675675</c:v>
                </c:pt>
                <c:pt idx="872">
                  <c:v>1.0236486486486487</c:v>
                </c:pt>
                <c:pt idx="873">
                  <c:v>1.0020270270270271</c:v>
                </c:pt>
                <c:pt idx="874">
                  <c:v>0.97927927927927927</c:v>
                </c:pt>
                <c:pt idx="875">
                  <c:v>0.99031531531531536</c:v>
                </c:pt>
                <c:pt idx="876">
                  <c:v>1.0310810810810811</c:v>
                </c:pt>
                <c:pt idx="877">
                  <c:v>1.0182432432432431</c:v>
                </c:pt>
                <c:pt idx="878">
                  <c:v>1.0227477477477478</c:v>
                </c:pt>
                <c:pt idx="879">
                  <c:v>0.96869369369369374</c:v>
                </c:pt>
                <c:pt idx="880">
                  <c:v>0.99909909909909911</c:v>
                </c:pt>
                <c:pt idx="881">
                  <c:v>0.99572072072072082</c:v>
                </c:pt>
                <c:pt idx="882">
                  <c:v>1.012837837837838</c:v>
                </c:pt>
                <c:pt idx="883">
                  <c:v>1.0452702702702703</c:v>
                </c:pt>
                <c:pt idx="884">
                  <c:v>0.98986486486486502</c:v>
                </c:pt>
                <c:pt idx="885">
                  <c:v>1.0177927927927928</c:v>
                </c:pt>
                <c:pt idx="886">
                  <c:v>1.0150900900900903</c:v>
                </c:pt>
                <c:pt idx="887">
                  <c:v>1.0358108108108111</c:v>
                </c:pt>
                <c:pt idx="888">
                  <c:v>1.0380630630630632</c:v>
                </c:pt>
                <c:pt idx="889">
                  <c:v>1.0668918918918919</c:v>
                </c:pt>
                <c:pt idx="890">
                  <c:v>1.1074324324324325</c:v>
                </c:pt>
                <c:pt idx="891">
                  <c:v>1.1074324324324325</c:v>
                </c:pt>
                <c:pt idx="892">
                  <c:v>1.1202702702702703</c:v>
                </c:pt>
                <c:pt idx="893">
                  <c:v>1.1259009009009009</c:v>
                </c:pt>
                <c:pt idx="894">
                  <c:v>1.16981981981982</c:v>
                </c:pt>
                <c:pt idx="895">
                  <c:v>1.1790540540540539</c:v>
                </c:pt>
                <c:pt idx="896">
                  <c:v>1.1876126126126125</c:v>
                </c:pt>
                <c:pt idx="897">
                  <c:v>1.1790540540540539</c:v>
                </c:pt>
                <c:pt idx="898">
                  <c:v>1.1481981981981981</c:v>
                </c:pt>
                <c:pt idx="899">
                  <c:v>1.1245495495495497</c:v>
                </c:pt>
                <c:pt idx="900">
                  <c:v>1.0990990990990992</c:v>
                </c:pt>
                <c:pt idx="901">
                  <c:v>1.0831081081081082</c:v>
                </c:pt>
                <c:pt idx="902">
                  <c:v>1.0747747747747749</c:v>
                </c:pt>
                <c:pt idx="903">
                  <c:v>1.0680180180180179</c:v>
                </c:pt>
                <c:pt idx="904">
                  <c:v>1.0101351351351351</c:v>
                </c:pt>
                <c:pt idx="905">
                  <c:v>1.0135135135135136</c:v>
                </c:pt>
                <c:pt idx="906">
                  <c:v>0.98738738738738752</c:v>
                </c:pt>
                <c:pt idx="907">
                  <c:v>0.94932432432432423</c:v>
                </c:pt>
                <c:pt idx="908">
                  <c:v>0.96711711711711712</c:v>
                </c:pt>
                <c:pt idx="909">
                  <c:v>0.9907657657657658</c:v>
                </c:pt>
                <c:pt idx="910">
                  <c:v>1.0468468468468466</c:v>
                </c:pt>
                <c:pt idx="911">
                  <c:v>1.0740990990990993</c:v>
                </c:pt>
                <c:pt idx="912">
                  <c:v>1.0887387387387388</c:v>
                </c:pt>
                <c:pt idx="913">
                  <c:v>1.075</c:v>
                </c:pt>
                <c:pt idx="914">
                  <c:v>1.029054054054054</c:v>
                </c:pt>
                <c:pt idx="915">
                  <c:v>1.0567567567567568</c:v>
                </c:pt>
                <c:pt idx="916">
                  <c:v>1.0896396396396397</c:v>
                </c:pt>
                <c:pt idx="917">
                  <c:v>1.0481981981981983</c:v>
                </c:pt>
                <c:pt idx="918">
                  <c:v>1.0524774774774774</c:v>
                </c:pt>
                <c:pt idx="919">
                  <c:v>0.99819819819819833</c:v>
                </c:pt>
                <c:pt idx="920">
                  <c:v>1</c:v>
                </c:pt>
                <c:pt idx="921">
                  <c:v>1</c:v>
                </c:pt>
              </c:numCache>
            </c:numRef>
          </c:val>
          <c:smooth val="0"/>
          <c:extLst>
            <c:ext xmlns:c16="http://schemas.microsoft.com/office/drawing/2014/chart" uri="{C3380CC4-5D6E-409C-BE32-E72D297353CC}">
              <c16:uniqueId val="{00000003-B9B2-4D69-9144-C8D4670E5D4F}"/>
            </c:ext>
          </c:extLst>
        </c:ser>
        <c:ser>
          <c:idx val="4"/>
          <c:order val="4"/>
          <c:tx>
            <c:strRef>
              <c:f>Sheet3!$V$1</c:f>
              <c:strCache>
                <c:ptCount val="1"/>
                <c:pt idx="0">
                  <c:v>JFROG</c:v>
                </c:pt>
              </c:strCache>
            </c:strRef>
          </c:tx>
          <c:spPr>
            <a:ln w="28575" cap="rnd">
              <a:solidFill>
                <a:schemeClr val="accent1">
                  <a:tint val="83000"/>
                </a:schemeClr>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V$2:$V$1410</c:f>
              <c:numCache>
                <c:formatCode>General</c:formatCode>
                <c:ptCount val="1409"/>
                <c:pt idx="172">
                  <c:v>2.4046675584631294</c:v>
                </c:pt>
                <c:pt idx="173">
                  <c:v>2.3924196761619578</c:v>
                </c:pt>
                <c:pt idx="174">
                  <c:v>2.4042964105146085</c:v>
                </c:pt>
                <c:pt idx="175">
                  <c:v>2.4866912550861189</c:v>
                </c:pt>
                <c:pt idx="176">
                  <c:v>2.8841907079513769</c:v>
                </c:pt>
                <c:pt idx="177">
                  <c:v>2.8021670113283879</c:v>
                </c:pt>
                <c:pt idx="178">
                  <c:v>2.6893380349782112</c:v>
                </c:pt>
                <c:pt idx="179">
                  <c:v>2.810703414144355</c:v>
                </c:pt>
                <c:pt idx="180">
                  <c:v>3.2048625354729308</c:v>
                </c:pt>
                <c:pt idx="181">
                  <c:v>3.1722015160031432</c:v>
                </c:pt>
                <c:pt idx="182">
                  <c:v>3.228957058752902</c:v>
                </c:pt>
                <c:pt idx="183">
                  <c:v>2.8227149716209654</c:v>
                </c:pt>
                <c:pt idx="184">
                  <c:v>2.9268502671956309</c:v>
                </c:pt>
                <c:pt idx="185">
                  <c:v>2.8082199487937225</c:v>
                </c:pt>
                <c:pt idx="186">
                  <c:v>2.815086012238206</c:v>
                </c:pt>
                <c:pt idx="187">
                  <c:v>2.8612412165039003</c:v>
                </c:pt>
                <c:pt idx="188">
                  <c:v>3.0584498165482299</c:v>
                </c:pt>
                <c:pt idx="189">
                  <c:v>2.9806344308440842</c:v>
                </c:pt>
                <c:pt idx="190">
                  <c:v>3.1191000436411667</c:v>
                </c:pt>
                <c:pt idx="191">
                  <c:v>2.9524072811278748</c:v>
                </c:pt>
                <c:pt idx="192">
                  <c:v>3.085151174387887</c:v>
                </c:pt>
                <c:pt idx="193">
                  <c:v>3.2538816899800258</c:v>
                </c:pt>
                <c:pt idx="194">
                  <c:v>3.2470113239483958</c:v>
                </c:pt>
                <c:pt idx="195">
                  <c:v>3.1130391863316236</c:v>
                </c:pt>
                <c:pt idx="196">
                  <c:v>2.8412780410805056</c:v>
                </c:pt>
                <c:pt idx="197">
                  <c:v>2.9122718234073424</c:v>
                </c:pt>
                <c:pt idx="198">
                  <c:v>2.764558953727311</c:v>
                </c:pt>
                <c:pt idx="199">
                  <c:v>2.6905116753864164</c:v>
                </c:pt>
                <c:pt idx="200">
                  <c:v>2.7408943596183653</c:v>
                </c:pt>
                <c:pt idx="201">
                  <c:v>2.7428027946271514</c:v>
                </c:pt>
                <c:pt idx="202">
                  <c:v>2.4798204504164487</c:v>
                </c:pt>
                <c:pt idx="203">
                  <c:v>2.4588276653198036</c:v>
                </c:pt>
                <c:pt idx="204">
                  <c:v>2.2958473155694845</c:v>
                </c:pt>
                <c:pt idx="205">
                  <c:v>2.2748545304728389</c:v>
                </c:pt>
                <c:pt idx="206">
                  <c:v>2.3301991457276312</c:v>
                </c:pt>
                <c:pt idx="207">
                  <c:v>2.2897403235413694</c:v>
                </c:pt>
                <c:pt idx="208">
                  <c:v>2.3843986999771518</c:v>
                </c:pt>
                <c:pt idx="209">
                  <c:v>2.4198955911405702</c:v>
                </c:pt>
                <c:pt idx="210">
                  <c:v>2.3656960368910496</c:v>
                </c:pt>
                <c:pt idx="211">
                  <c:v>2.4149336601177271</c:v>
                </c:pt>
                <c:pt idx="212">
                  <c:v>2.3710396549156503</c:v>
                </c:pt>
                <c:pt idx="213">
                  <c:v>2.3370695117592604</c:v>
                </c:pt>
                <c:pt idx="214">
                  <c:v>2.3084429866274716</c:v>
                </c:pt>
                <c:pt idx="215">
                  <c:v>2.2798164614956824</c:v>
                </c:pt>
                <c:pt idx="216">
                  <c:v>2.5454706147186852</c:v>
                </c:pt>
                <c:pt idx="217">
                  <c:v>2.5454706147186852</c:v>
                </c:pt>
                <c:pt idx="218">
                  <c:v>2.6477627311896117</c:v>
                </c:pt>
                <c:pt idx="219">
                  <c:v>2.685549744363573</c:v>
                </c:pt>
                <c:pt idx="220">
                  <c:v>2.6435641741702827</c:v>
                </c:pt>
                <c:pt idx="221">
                  <c:v>2.5076836015447235</c:v>
                </c:pt>
                <c:pt idx="222">
                  <c:v>2.6038687259875348</c:v>
                </c:pt>
                <c:pt idx="223">
                  <c:v>2.6000518559699635</c:v>
                </c:pt>
                <c:pt idx="224">
                  <c:v>2.6630302112598989</c:v>
                </c:pt>
                <c:pt idx="225">
                  <c:v>2.6172277710490364</c:v>
                </c:pt>
                <c:pt idx="226">
                  <c:v>2.5779140098680466</c:v>
                </c:pt>
                <c:pt idx="227">
                  <c:v>2.6023419779805064</c:v>
                </c:pt>
                <c:pt idx="228">
                  <c:v>2.6084489700086215</c:v>
                </c:pt>
                <c:pt idx="229">
                  <c:v>2.5981434209611769</c:v>
                </c:pt>
                <c:pt idx="230">
                  <c:v>2.4977597394990365</c:v>
                </c:pt>
                <c:pt idx="231">
                  <c:v>2.4122618511054266</c:v>
                </c:pt>
                <c:pt idx="232">
                  <c:v>2.5660817128135736</c:v>
                </c:pt>
                <c:pt idx="233">
                  <c:v>2.6298234421070243</c:v>
                </c:pt>
                <c:pt idx="234">
                  <c:v>2.5985251079629341</c:v>
                </c:pt>
                <c:pt idx="235">
                  <c:v>2.5771506358645313</c:v>
                </c:pt>
                <c:pt idx="236">
                  <c:v>2.5878378719137332</c:v>
                </c:pt>
                <c:pt idx="237">
                  <c:v>2.6267699460929657</c:v>
                </c:pt>
                <c:pt idx="238">
                  <c:v>2.6267699460929657</c:v>
                </c:pt>
                <c:pt idx="239">
                  <c:v>2.4271476441739575</c:v>
                </c:pt>
                <c:pt idx="240">
                  <c:v>2.4683698403637337</c:v>
                </c:pt>
                <c:pt idx="241">
                  <c:v>2.4710416493760339</c:v>
                </c:pt>
                <c:pt idx="242">
                  <c:v>2.4223137227195326</c:v>
                </c:pt>
                <c:pt idx="243">
                  <c:v>2.3274722177395857</c:v>
                </c:pt>
                <c:pt idx="244">
                  <c:v>2.3702665553524884</c:v>
                </c:pt>
                <c:pt idx="245">
                  <c:v>2.2954728481731812</c:v>
                </c:pt>
                <c:pt idx="246">
                  <c:v>2.3930130951647524</c:v>
                </c:pt>
                <c:pt idx="247">
                  <c:v>2.4130608929653916</c:v>
                </c:pt>
                <c:pt idx="248">
                  <c:v>2.3876156111415034</c:v>
                </c:pt>
                <c:pt idx="249">
                  <c:v>2.4280967413158705</c:v>
                </c:pt>
                <c:pt idx="250">
                  <c:v>2.4624093183208107</c:v>
                </c:pt>
                <c:pt idx="251">
                  <c:v>2.3903143531531281</c:v>
                </c:pt>
                <c:pt idx="252">
                  <c:v>2.2997137284771627</c:v>
                </c:pt>
                <c:pt idx="253">
                  <c:v>2.2997137284771627</c:v>
                </c:pt>
                <c:pt idx="254">
                  <c:v>2.3297854251781214</c:v>
                </c:pt>
                <c:pt idx="255">
                  <c:v>2.3679533479139536</c:v>
                </c:pt>
                <c:pt idx="256">
                  <c:v>2.449686677408867</c:v>
                </c:pt>
                <c:pt idx="257">
                  <c:v>2.4959508261795724</c:v>
                </c:pt>
                <c:pt idx="258">
                  <c:v>2.5969608843289467</c:v>
                </c:pt>
                <c:pt idx="259">
                  <c:v>2.6914168547358046</c:v>
                </c:pt>
                <c:pt idx="260">
                  <c:v>2.6960432696128751</c:v>
                </c:pt>
                <c:pt idx="261">
                  <c:v>2.4917099458755909</c:v>
                </c:pt>
                <c:pt idx="262">
                  <c:v>2.4084344780883211</c:v>
                </c:pt>
                <c:pt idx="263">
                  <c:v>2.4152083679514664</c:v>
                </c:pt>
                <c:pt idx="264">
                  <c:v>2.4645849325733775</c:v>
                </c:pt>
                <c:pt idx="265">
                  <c:v>2.4418254223179656</c:v>
                </c:pt>
                <c:pt idx="266">
                  <c:v>2.4479974928957042</c:v>
                </c:pt>
                <c:pt idx="267">
                  <c:v>2.5930411514725695</c:v>
                </c:pt>
                <c:pt idx="268">
                  <c:v>2.5459791133173102</c:v>
                </c:pt>
                <c:pt idx="269">
                  <c:v>2.5455933589062014</c:v>
                </c:pt>
                <c:pt idx="270">
                  <c:v>2.5444360956728751</c:v>
                </c:pt>
                <c:pt idx="271">
                  <c:v>2.5614092897616576</c:v>
                </c:pt>
                <c:pt idx="272">
                  <c:v>2.5783824838504397</c:v>
                </c:pt>
                <c:pt idx="273">
                  <c:v>2.3669890665628812</c:v>
                </c:pt>
                <c:pt idx="274">
                  <c:v>2.3060398696077091</c:v>
                </c:pt>
                <c:pt idx="275">
                  <c:v>2.2690074461412757</c:v>
                </c:pt>
                <c:pt idx="276">
                  <c:v>2.1054475758311937</c:v>
                </c:pt>
                <c:pt idx="277">
                  <c:v>2.0634003450203471</c:v>
                </c:pt>
                <c:pt idx="278">
                  <c:v>2.1552098948642135</c:v>
                </c:pt>
                <c:pt idx="279">
                  <c:v>2.0641718538425646</c:v>
                </c:pt>
                <c:pt idx="280">
                  <c:v>1.9156564055657213</c:v>
                </c:pt>
                <c:pt idx="281">
                  <c:v>1.8211465748440938</c:v>
                </c:pt>
                <c:pt idx="282">
                  <c:v>1.8284759086551587</c:v>
                </c:pt>
                <c:pt idx="283">
                  <c:v>1.7320373058779883</c:v>
                </c:pt>
                <c:pt idx="284">
                  <c:v>1.8199893116107679</c:v>
                </c:pt>
                <c:pt idx="285">
                  <c:v>1.7698412381666393</c:v>
                </c:pt>
                <c:pt idx="286">
                  <c:v>1.8909681232547657</c:v>
                </c:pt>
                <c:pt idx="287">
                  <c:v>1.9253002658434384</c:v>
                </c:pt>
                <c:pt idx="288">
                  <c:v>1.9704335319431547</c:v>
                </c:pt>
                <c:pt idx="289">
                  <c:v>1.9195139496768086</c:v>
                </c:pt>
                <c:pt idx="290">
                  <c:v>1.8342622248217892</c:v>
                </c:pt>
                <c:pt idx="291">
                  <c:v>1.8709088938771143</c:v>
                </c:pt>
                <c:pt idx="292">
                  <c:v>1.9542318466765898</c:v>
                </c:pt>
                <c:pt idx="293">
                  <c:v>1.959246654021003</c:v>
                </c:pt>
                <c:pt idx="294">
                  <c:v>1.9492170393321768</c:v>
                </c:pt>
                <c:pt idx="295">
                  <c:v>1.837348260110659</c:v>
                </c:pt>
                <c:pt idx="296">
                  <c:v>1.7459244646779009</c:v>
                </c:pt>
                <c:pt idx="297">
                  <c:v>1.747081727911227</c:v>
                </c:pt>
                <c:pt idx="298">
                  <c:v>1.6734026353894684</c:v>
                </c:pt>
                <c:pt idx="299">
                  <c:v>1.6772601795005551</c:v>
                </c:pt>
                <c:pt idx="300">
                  <c:v>1.735787873441166</c:v>
                </c:pt>
                <c:pt idx="301">
                  <c:v>1.7526097978400774</c:v>
                </c:pt>
                <c:pt idx="302">
                  <c:v>1.7526097978400774</c:v>
                </c:pt>
                <c:pt idx="303">
                  <c:v>1.8339809670255098</c:v>
                </c:pt>
                <c:pt idx="304">
                  <c:v>1.8621479102050824</c:v>
                </c:pt>
                <c:pt idx="305">
                  <c:v>1.9376509662281038</c:v>
                </c:pt>
                <c:pt idx="306">
                  <c:v>1.9337388907864963</c:v>
                </c:pt>
                <c:pt idx="307">
                  <c:v>2.0037650411912673</c:v>
                </c:pt>
                <c:pt idx="308">
                  <c:v>2.0346704371799653</c:v>
                </c:pt>
                <c:pt idx="309">
                  <c:v>2.0327143994591612</c:v>
                </c:pt>
                <c:pt idx="310">
                  <c:v>2.055013229476323</c:v>
                </c:pt>
                <c:pt idx="311">
                  <c:v>2.0033738336471063</c:v>
                </c:pt>
                <c:pt idx="312">
                  <c:v>1.9012686646211558</c:v>
                </c:pt>
                <c:pt idx="313">
                  <c:v>1.8684072309116542</c:v>
                </c:pt>
                <c:pt idx="314">
                  <c:v>1.8914884760171375</c:v>
                </c:pt>
                <c:pt idx="315">
                  <c:v>1.9591673811569437</c:v>
                </c:pt>
                <c:pt idx="316">
                  <c:v>2.0565780596529661</c:v>
                </c:pt>
                <c:pt idx="317">
                  <c:v>2.0538396068438409</c:v>
                </c:pt>
                <c:pt idx="318">
                  <c:v>2.0025914185587852</c:v>
                </c:pt>
                <c:pt idx="319">
                  <c:v>1.997114512940535</c:v>
                </c:pt>
                <c:pt idx="320">
                  <c:v>1.9791189659091415</c:v>
                </c:pt>
                <c:pt idx="321">
                  <c:v>1.9191004879655971</c:v>
                </c:pt>
                <c:pt idx="322">
                  <c:v>1.6458938510902172</c:v>
                </c:pt>
                <c:pt idx="323">
                  <c:v>1.4055659498846538</c:v>
                </c:pt>
                <c:pt idx="324">
                  <c:v>1.3922578902087759</c:v>
                </c:pt>
                <c:pt idx="325">
                  <c:v>1.438836099074349</c:v>
                </c:pt>
                <c:pt idx="326">
                  <c:v>1.421222490679805</c:v>
                </c:pt>
                <c:pt idx="327">
                  <c:v>1.3472453354227176</c:v>
                </c:pt>
                <c:pt idx="328">
                  <c:v>1.4278765205177435</c:v>
                </c:pt>
                <c:pt idx="329">
                  <c:v>1.4345305503556827</c:v>
                </c:pt>
                <c:pt idx="330">
                  <c:v>1.4854143079399227</c:v>
                </c:pt>
                <c:pt idx="331">
                  <c:v>1.4764117969827111</c:v>
                </c:pt>
                <c:pt idx="332">
                  <c:v>1.5186844571296176</c:v>
                </c:pt>
                <c:pt idx="333">
                  <c:v>1.5249470734476782</c:v>
                </c:pt>
                <c:pt idx="334">
                  <c:v>1.5167273895302238</c:v>
                </c:pt>
                <c:pt idx="335">
                  <c:v>1.5222071788085267</c:v>
                </c:pt>
                <c:pt idx="336">
                  <c:v>1.595401507025856</c:v>
                </c:pt>
                <c:pt idx="337">
                  <c:v>1.5621313578361609</c:v>
                </c:pt>
                <c:pt idx="338">
                  <c:v>1.6341514454938542</c:v>
                </c:pt>
                <c:pt idx="339">
                  <c:v>1.6341514454938542</c:v>
                </c:pt>
                <c:pt idx="340">
                  <c:v>1.6560706026070653</c:v>
                </c:pt>
                <c:pt idx="341">
                  <c:v>1.7304391713840312</c:v>
                </c:pt>
                <c:pt idx="342">
                  <c:v>1.6940377140353056</c:v>
                </c:pt>
                <c:pt idx="343">
                  <c:v>1.7261336226653647</c:v>
                </c:pt>
                <c:pt idx="344">
                  <c:v>1.7977622968031792</c:v>
                </c:pt>
                <c:pt idx="345">
                  <c:v>1.8118531835188147</c:v>
                </c:pt>
                <c:pt idx="346">
                  <c:v>1.7597951853749385</c:v>
                </c:pt>
                <c:pt idx="347">
                  <c:v>1.7895426128857248</c:v>
                </c:pt>
                <c:pt idx="348">
                  <c:v>1.8494288814271762</c:v>
                </c:pt>
                <c:pt idx="349">
                  <c:v>1.6999089168334871</c:v>
                </c:pt>
                <c:pt idx="350">
                  <c:v>1.7276992767448796</c:v>
                </c:pt>
                <c:pt idx="351">
                  <c:v>1.7958052292037854</c:v>
                </c:pt>
                <c:pt idx="352">
                  <c:v>1.831423859512753</c:v>
                </c:pt>
                <c:pt idx="353">
                  <c:v>1.8001107779224517</c:v>
                </c:pt>
                <c:pt idx="354">
                  <c:v>1.799327950882694</c:v>
                </c:pt>
                <c:pt idx="355">
                  <c:v>1.8325981000723892</c:v>
                </c:pt>
                <c:pt idx="356">
                  <c:v>1.9433681261980804</c:v>
                </c:pt>
                <c:pt idx="357">
                  <c:v>1.9457166073173533</c:v>
                </c:pt>
                <c:pt idx="358">
                  <c:v>1.9464994343571105</c:v>
                </c:pt>
                <c:pt idx="359">
                  <c:v>1.8873959928554167</c:v>
                </c:pt>
                <c:pt idx="360">
                  <c:v>1.7906922213955432</c:v>
                </c:pt>
                <c:pt idx="361">
                  <c:v>1.8414389912901006</c:v>
                </c:pt>
                <c:pt idx="362">
                  <c:v>1.8115416694917565</c:v>
                </c:pt>
                <c:pt idx="363">
                  <c:v>1.8115416694917565</c:v>
                </c:pt>
                <c:pt idx="364">
                  <c:v>1.8670090691439469</c:v>
                </c:pt>
                <c:pt idx="365">
                  <c:v>1.8603215103206334</c:v>
                </c:pt>
                <c:pt idx="366">
                  <c:v>1.8194093857544784</c:v>
                </c:pt>
                <c:pt idx="367">
                  <c:v>1.8410456054769644</c:v>
                </c:pt>
                <c:pt idx="368">
                  <c:v>1.7934459220874959</c:v>
                </c:pt>
                <c:pt idx="369">
                  <c:v>1.7851848200116376</c:v>
                </c:pt>
                <c:pt idx="370">
                  <c:v>1.6683492335102148</c:v>
                </c:pt>
                <c:pt idx="371">
                  <c:v>1.6939193113640616</c:v>
                </c:pt>
                <c:pt idx="372">
                  <c:v>1.7092613580763698</c:v>
                </c:pt>
                <c:pt idx="373">
                  <c:v>1.764335371915424</c:v>
                </c:pt>
                <c:pt idx="374">
                  <c:v>1.7961996227794486</c:v>
                </c:pt>
                <c:pt idx="375">
                  <c:v>1.7828245051328211</c:v>
                </c:pt>
                <c:pt idx="376">
                  <c:v>1.8056408822947148</c:v>
                </c:pt>
                <c:pt idx="377">
                  <c:v>1.8044607248553066</c:v>
                </c:pt>
                <c:pt idx="378">
                  <c:v>1.7796774186277322</c:v>
                </c:pt>
                <c:pt idx="379">
                  <c:v>1.7092613580763698</c:v>
                </c:pt>
                <c:pt idx="380">
                  <c:v>1.7879385207035905</c:v>
                </c:pt>
                <c:pt idx="381">
                  <c:v>1.794626079526904</c:v>
                </c:pt>
                <c:pt idx="382">
                  <c:v>1.7586497207975571</c:v>
                </c:pt>
                <c:pt idx="383">
                  <c:v>1.8035992344281653</c:v>
                </c:pt>
                <c:pt idx="384">
                  <c:v>1.7229309108589481</c:v>
                </c:pt>
                <c:pt idx="385">
                  <c:v>1.7321616145509482</c:v>
                </c:pt>
                <c:pt idx="386">
                  <c:v>1.8449367335706</c:v>
                </c:pt>
                <c:pt idx="387">
                  <c:v>1.6001224182610359</c:v>
                </c:pt>
                <c:pt idx="388">
                  <c:v>1.5503568853128624</c:v>
                </c:pt>
                <c:pt idx="389">
                  <c:v>1.5090193861704277</c:v>
                </c:pt>
                <c:pt idx="390">
                  <c:v>1.5475475407109496</c:v>
                </c:pt>
                <c:pt idx="391">
                  <c:v>1.5471462057678187</c:v>
                </c:pt>
                <c:pt idx="392">
                  <c:v>1.5367114972464273</c:v>
                </c:pt>
                <c:pt idx="393">
                  <c:v>1.479721935321906</c:v>
                </c:pt>
                <c:pt idx="394">
                  <c:v>1.462865867710428</c:v>
                </c:pt>
                <c:pt idx="395">
                  <c:v>1.4403911108951235</c:v>
                </c:pt>
                <c:pt idx="396">
                  <c:v>1.4379831012363411</c:v>
                </c:pt>
                <c:pt idx="397">
                  <c:v>1.4006589515252108</c:v>
                </c:pt>
                <c:pt idx="398">
                  <c:v>1.4993873475352972</c:v>
                </c:pt>
                <c:pt idx="399">
                  <c:v>1.5050060367391234</c:v>
                </c:pt>
                <c:pt idx="400">
                  <c:v>1.5146380753742539</c:v>
                </c:pt>
                <c:pt idx="401">
                  <c:v>1.5326981478151231</c:v>
                </c:pt>
                <c:pt idx="402">
                  <c:v>1.5640022733792969</c:v>
                </c:pt>
                <c:pt idx="403">
                  <c:v>1.5599889239479925</c:v>
                </c:pt>
                <c:pt idx="404">
                  <c:v>1.5427315213933839</c:v>
                </c:pt>
                <c:pt idx="405">
                  <c:v>1.5451395310521667</c:v>
                </c:pt>
                <c:pt idx="406">
                  <c:v>1.5162434151467754</c:v>
                </c:pt>
                <c:pt idx="407">
                  <c:v>1.5166447500899058</c:v>
                </c:pt>
                <c:pt idx="408">
                  <c:v>1.5166447500899058</c:v>
                </c:pt>
                <c:pt idx="409">
                  <c:v>1.5607915938342534</c:v>
                </c:pt>
                <c:pt idx="410">
                  <c:v>1.5094207211135582</c:v>
                </c:pt>
                <c:pt idx="411">
                  <c:v>1.5042033668528625</c:v>
                </c:pt>
                <c:pt idx="412">
                  <c:v>1.4676818870279931</c:v>
                </c:pt>
                <c:pt idx="413">
                  <c:v>1.4728992412886888</c:v>
                </c:pt>
                <c:pt idx="414">
                  <c:v>1.4552405037909497</c:v>
                </c:pt>
                <c:pt idx="415">
                  <c:v>1.4608591929947756</c:v>
                </c:pt>
                <c:pt idx="416">
                  <c:v>1.4452071302126888</c:v>
                </c:pt>
                <c:pt idx="417">
                  <c:v>1.476109920833732</c:v>
                </c:pt>
                <c:pt idx="418">
                  <c:v>1.4351737566344278</c:v>
                </c:pt>
                <c:pt idx="419">
                  <c:v>1.4452071302126888</c:v>
                </c:pt>
                <c:pt idx="420">
                  <c:v>1.4183176890229501</c:v>
                </c:pt>
                <c:pt idx="421">
                  <c:v>1.423936378226776</c:v>
                </c:pt>
                <c:pt idx="422">
                  <c:v>1.3537027631789502</c:v>
                </c:pt>
                <c:pt idx="423">
                  <c:v>1.3436693896006893</c:v>
                </c:pt>
                <c:pt idx="424">
                  <c:v>1.3489308907167232</c:v>
                </c:pt>
                <c:pt idx="425">
                  <c:v>1.3469175610290862</c:v>
                </c:pt>
                <c:pt idx="426">
                  <c:v>1.3187309454021696</c:v>
                </c:pt>
                <c:pt idx="427">
                  <c:v>1.3179256135271149</c:v>
                </c:pt>
                <c:pt idx="428">
                  <c:v>1.3493335566542506</c:v>
                </c:pt>
                <c:pt idx="429">
                  <c:v>1.3827548294690231</c:v>
                </c:pt>
                <c:pt idx="430">
                  <c:v>1.3686615216555649</c:v>
                </c:pt>
                <c:pt idx="431">
                  <c:v>1.3565815435297433</c:v>
                </c:pt>
                <c:pt idx="432">
                  <c:v>1.4262427507219799</c:v>
                </c:pt>
                <c:pt idx="433">
                  <c:v>1.4487920432235133</c:v>
                </c:pt>
                <c:pt idx="434">
                  <c:v>1.4266454166595075</c:v>
                </c:pt>
                <c:pt idx="435">
                  <c:v>1.4198000957215418</c:v>
                </c:pt>
                <c:pt idx="436">
                  <c:v>1.3916134800946256</c:v>
                </c:pt>
                <c:pt idx="437">
                  <c:v>1.3678561897805099</c:v>
                </c:pt>
                <c:pt idx="438">
                  <c:v>1.3082616310264576</c:v>
                </c:pt>
                <c:pt idx="439">
                  <c:v>1.3114829585266767</c:v>
                </c:pt>
                <c:pt idx="440">
                  <c:v>1.3188502574018812</c:v>
                </c:pt>
                <c:pt idx="441">
                  <c:v>1.3628253806985484</c:v>
                </c:pt>
                <c:pt idx="442">
                  <c:v>1.3269190873645724</c:v>
                </c:pt>
                <c:pt idx="443">
                  <c:v>1.3967144665418516</c:v>
                </c:pt>
                <c:pt idx="444">
                  <c:v>1.4302001108870201</c:v>
                </c:pt>
                <c:pt idx="445">
                  <c:v>1.5742287257210588</c:v>
                </c:pt>
                <c:pt idx="446">
                  <c:v>1.5237985384542385</c:v>
                </c:pt>
                <c:pt idx="447">
                  <c:v>1.5593013902900799</c:v>
                </c:pt>
                <c:pt idx="448">
                  <c:v>1.5036264635475103</c:v>
                </c:pt>
                <c:pt idx="449">
                  <c:v>1.4943473090904154</c:v>
                </c:pt>
                <c:pt idx="450">
                  <c:v>1.4927335430978772</c:v>
                </c:pt>
                <c:pt idx="451">
                  <c:v>1.4527928347825554</c:v>
                </c:pt>
                <c:pt idx="452">
                  <c:v>1.4806302981538404</c:v>
                </c:pt>
                <c:pt idx="453">
                  <c:v>1.4769993246706294</c:v>
                </c:pt>
                <c:pt idx="454">
                  <c:v>1.4358482918609043</c:v>
                </c:pt>
                <c:pt idx="455">
                  <c:v>1.4132555679653687</c:v>
                </c:pt>
                <c:pt idx="456">
                  <c:v>1.3918731685642369</c:v>
                </c:pt>
                <c:pt idx="457">
                  <c:v>1.3333741513347255</c:v>
                </c:pt>
                <c:pt idx="458">
                  <c:v>1.3563703167283954</c:v>
                </c:pt>
                <c:pt idx="459">
                  <c:v>1.3563703167283954</c:v>
                </c:pt>
                <c:pt idx="460">
                  <c:v>1.336601683319802</c:v>
                </c:pt>
                <c:pt idx="461">
                  <c:v>1.2865749375511164</c:v>
                </c:pt>
                <c:pt idx="462">
                  <c:v>1.2893990280380585</c:v>
                </c:pt>
                <c:pt idx="463">
                  <c:v>1.2135520263887607</c:v>
                </c:pt>
                <c:pt idx="464">
                  <c:v>1.2155692338794335</c:v>
                </c:pt>
                <c:pt idx="465">
                  <c:v>1.1502117111816348</c:v>
                </c:pt>
                <c:pt idx="466">
                  <c:v>1.1853111215193413</c:v>
                </c:pt>
                <c:pt idx="467">
                  <c:v>1.2914162355287309</c:v>
                </c:pt>
                <c:pt idx="468">
                  <c:v>1.3059401294615751</c:v>
                </c:pt>
                <c:pt idx="469">
                  <c:v>1.2793129905846945</c:v>
                </c:pt>
                <c:pt idx="470">
                  <c:v>1.2325137768010852</c:v>
                </c:pt>
                <c:pt idx="471">
                  <c:v>1.2155692338794335</c:v>
                </c:pt>
                <c:pt idx="472">
                  <c:v>1.1768388500585156</c:v>
                </c:pt>
                <c:pt idx="473">
                  <c:v>1.1958006004708401</c:v>
                </c:pt>
                <c:pt idx="474">
                  <c:v>1.1631218391219407</c:v>
                </c:pt>
                <c:pt idx="475">
                  <c:v>1.2034659889353967</c:v>
                </c:pt>
                <c:pt idx="476">
                  <c:v>1.1586839826424604</c:v>
                </c:pt>
                <c:pt idx="477">
                  <c:v>1.2107279359018188</c:v>
                </c:pt>
                <c:pt idx="478">
                  <c:v>1.198624690957782</c:v>
                </c:pt>
                <c:pt idx="479">
                  <c:v>1.2220242978495863</c:v>
                </c:pt>
                <c:pt idx="480">
                  <c:v>1.2220242978495863</c:v>
                </c:pt>
                <c:pt idx="481">
                  <c:v>1.2260587128309322</c:v>
                </c:pt>
                <c:pt idx="482">
                  <c:v>1.2304965693104124</c:v>
                </c:pt>
                <c:pt idx="483">
                  <c:v>1.2325137768010852</c:v>
                </c:pt>
                <c:pt idx="484">
                  <c:v>1.2518789687115441</c:v>
                </c:pt>
                <c:pt idx="485">
                  <c:v>1.2096731370038012</c:v>
                </c:pt>
                <c:pt idx="486">
                  <c:v>1.2108950290613809</c:v>
                </c:pt>
                <c:pt idx="487">
                  <c:v>1.1269917744409153</c:v>
                </c:pt>
                <c:pt idx="488">
                  <c:v>1.1791258355643113</c:v>
                </c:pt>
                <c:pt idx="489">
                  <c:v>1.1436909658945029</c:v>
                </c:pt>
                <c:pt idx="490">
                  <c:v>1.1066269068145886</c:v>
                </c:pt>
                <c:pt idx="491">
                  <c:v>1.1677215096935687</c:v>
                </c:pt>
                <c:pt idx="492">
                  <c:v>1.1184385300378581</c:v>
                </c:pt>
                <c:pt idx="493">
                  <c:v>1.0728212265548864</c:v>
                </c:pt>
                <c:pt idx="494">
                  <c:v>1.0667117662669883</c:v>
                </c:pt>
                <c:pt idx="495">
                  <c:v>1.0667117662669883</c:v>
                </c:pt>
                <c:pt idx="496">
                  <c:v>1.0280185177769678</c:v>
                </c:pt>
                <c:pt idx="497">
                  <c:v>1.0247601389567556</c:v>
                </c:pt>
                <c:pt idx="498">
                  <c:v>1.0439031145255024</c:v>
                </c:pt>
                <c:pt idx="499">
                  <c:v>1.0003222978051636</c:v>
                </c:pt>
                <c:pt idx="500">
                  <c:v>1.0292404098345476</c:v>
                </c:pt>
                <c:pt idx="501">
                  <c:v>0.97221878048083299</c:v>
                </c:pt>
                <c:pt idx="502">
                  <c:v>0.97669905135862467</c:v>
                </c:pt>
                <c:pt idx="503">
                  <c:v>0.97669905135862467</c:v>
                </c:pt>
                <c:pt idx="504">
                  <c:v>1.0076536501506412</c:v>
                </c:pt>
                <c:pt idx="505">
                  <c:v>1.0630265094930236</c:v>
                </c:pt>
                <c:pt idx="506">
                  <c:v>1.0772925861158211</c:v>
                </c:pt>
                <c:pt idx="507">
                  <c:v>1.104194330604525</c:v>
                </c:pt>
                <c:pt idx="508">
                  <c:v>1.0948194802524009</c:v>
                </c:pt>
                <c:pt idx="509">
                  <c:v>1.0169674621108489</c:v>
                </c:pt>
                <c:pt idx="510">
                  <c:v>1.0479452284917805</c:v>
                </c:pt>
                <c:pt idx="511">
                  <c:v>1.0764773817373756</c:v>
                </c:pt>
                <c:pt idx="512">
                  <c:v>1.0565048744654593</c:v>
                </c:pt>
                <c:pt idx="513">
                  <c:v>1.0080002139479476</c:v>
                </c:pt>
                <c:pt idx="514">
                  <c:v>0.96071835999810462</c:v>
                </c:pt>
                <c:pt idx="515">
                  <c:v>0.96071835999810462</c:v>
                </c:pt>
                <c:pt idx="516">
                  <c:v>0.93503942207706925</c:v>
                </c:pt>
                <c:pt idx="517">
                  <c:v>0.91017568853447905</c:v>
                </c:pt>
                <c:pt idx="518">
                  <c:v>0.98476688916224886</c:v>
                </c:pt>
                <c:pt idx="519">
                  <c:v>0.9892505132436995</c:v>
                </c:pt>
                <c:pt idx="520">
                  <c:v>1.0096306227048388</c:v>
                </c:pt>
                <c:pt idx="521">
                  <c:v>0.99984817016349214</c:v>
                </c:pt>
                <c:pt idx="522">
                  <c:v>0.98762010448680837</c:v>
                </c:pt>
                <c:pt idx="523">
                  <c:v>0.94196865929385654</c:v>
                </c:pt>
                <c:pt idx="524">
                  <c:v>0.9256645717249451</c:v>
                </c:pt>
                <c:pt idx="525">
                  <c:v>0.92525696953572234</c:v>
                </c:pt>
                <c:pt idx="526">
                  <c:v>0.98476688916224886</c:v>
                </c:pt>
                <c:pt idx="527">
                  <c:v>1.0210434840030769</c:v>
                </c:pt>
                <c:pt idx="528">
                  <c:v>0.99577214827126415</c:v>
                </c:pt>
                <c:pt idx="529">
                  <c:v>0.93870784178007438</c:v>
                </c:pt>
                <c:pt idx="530">
                  <c:v>0.88082833091043866</c:v>
                </c:pt>
                <c:pt idx="531">
                  <c:v>0.8873499659380033</c:v>
                </c:pt>
                <c:pt idx="532">
                  <c:v>0.95338152059209436</c:v>
                </c:pt>
                <c:pt idx="533">
                  <c:v>0.99006571762214524</c:v>
                </c:pt>
                <c:pt idx="534">
                  <c:v>1.0080002139479476</c:v>
                </c:pt>
                <c:pt idx="535">
                  <c:v>0.99862536359582366</c:v>
                </c:pt>
                <c:pt idx="536">
                  <c:v>1.0214510861922994</c:v>
                </c:pt>
                <c:pt idx="537">
                  <c:v>1.0124838380293983</c:v>
                </c:pt>
                <c:pt idx="538">
                  <c:v>1.0267499146521959</c:v>
                </c:pt>
                <c:pt idx="539">
                  <c:v>1.0112610314617299</c:v>
                </c:pt>
                <c:pt idx="540">
                  <c:v>1.0312335387336464</c:v>
                </c:pt>
                <c:pt idx="541">
                  <c:v>1.0695481445205881</c:v>
                </c:pt>
                <c:pt idx="542">
                  <c:v>1.0728089620343706</c:v>
                </c:pt>
                <c:pt idx="543">
                  <c:v>1.1126665283507213</c:v>
                </c:pt>
                <c:pt idx="544">
                  <c:v>1.1279424695562783</c:v>
                </c:pt>
                <c:pt idx="545">
                  <c:v>1.0453698143911043</c:v>
                </c:pt>
                <c:pt idx="546">
                  <c:v>1.0375254121504129</c:v>
                </c:pt>
                <c:pt idx="547">
                  <c:v>0.99458763146452212</c:v>
                </c:pt>
                <c:pt idx="548">
                  <c:v>0.98839468232713423</c:v>
                </c:pt>
                <c:pt idx="549">
                  <c:v>1.0197722912899003</c:v>
                </c:pt>
                <c:pt idx="550">
                  <c:v>1.0581685759417063</c:v>
                </c:pt>
                <c:pt idx="551">
                  <c:v>1.0466084042185821</c:v>
                </c:pt>
                <c:pt idx="552">
                  <c:v>1.0466084042185821</c:v>
                </c:pt>
                <c:pt idx="553">
                  <c:v>1.0152307952558157</c:v>
                </c:pt>
                <c:pt idx="554">
                  <c:v>1.0689030211131789</c:v>
                </c:pt>
                <c:pt idx="555">
                  <c:v>1.0098635726700795</c:v>
                </c:pt>
                <c:pt idx="556">
                  <c:v>0.96238429595010433</c:v>
                </c:pt>
                <c:pt idx="557">
                  <c:v>0.93596104629724863</c:v>
                </c:pt>
                <c:pt idx="558">
                  <c:v>0.96486147560505964</c:v>
                </c:pt>
                <c:pt idx="559">
                  <c:v>0.91490501923012935</c:v>
                </c:pt>
                <c:pt idx="560">
                  <c:v>0.88889463285309944</c:v>
                </c:pt>
                <c:pt idx="561">
                  <c:v>0.90251912095535314</c:v>
                </c:pt>
                <c:pt idx="562">
                  <c:v>0.86302665714662419</c:v>
                </c:pt>
                <c:pt idx="563">
                  <c:v>0.88080823177877787</c:v>
                </c:pt>
                <c:pt idx="564">
                  <c:v>0.83449343273688914</c:v>
                </c:pt>
                <c:pt idx="565">
                  <c:v>0.76088598425960163</c:v>
                </c:pt>
                <c:pt idx="566">
                  <c:v>0.75881835930237451</c:v>
                </c:pt>
                <c:pt idx="567">
                  <c:v>0.70051133550856803</c:v>
                </c:pt>
                <c:pt idx="568">
                  <c:v>0.70299248545724058</c:v>
                </c:pt>
                <c:pt idx="569">
                  <c:v>0.7555101593708109</c:v>
                </c:pt>
                <c:pt idx="570">
                  <c:v>0.73193923485842105</c:v>
                </c:pt>
                <c:pt idx="571">
                  <c:v>0.75757778432803813</c:v>
                </c:pt>
                <c:pt idx="572">
                  <c:v>0.73772858473865732</c:v>
                </c:pt>
                <c:pt idx="573">
                  <c:v>0.80471963335281782</c:v>
                </c:pt>
                <c:pt idx="574">
                  <c:v>0.81505775813895365</c:v>
                </c:pt>
                <c:pt idx="575">
                  <c:v>0.78321633379765521</c:v>
                </c:pt>
                <c:pt idx="576">
                  <c:v>0.73276628484131201</c:v>
                </c:pt>
                <c:pt idx="577">
                  <c:v>0.75178843444780197</c:v>
                </c:pt>
                <c:pt idx="578">
                  <c:v>0.76460770918261045</c:v>
                </c:pt>
                <c:pt idx="579">
                  <c:v>0.80265200839559059</c:v>
                </c:pt>
                <c:pt idx="580">
                  <c:v>0.80265200839559059</c:v>
                </c:pt>
                <c:pt idx="581">
                  <c:v>0.77122410904573735</c:v>
                </c:pt>
                <c:pt idx="582">
                  <c:v>0.78280280880620967</c:v>
                </c:pt>
                <c:pt idx="583">
                  <c:v>0.83242580777966191</c:v>
                </c:pt>
                <c:pt idx="584">
                  <c:v>0.75468310938792005</c:v>
                </c:pt>
                <c:pt idx="585">
                  <c:v>0.76750238412272853</c:v>
                </c:pt>
                <c:pt idx="586">
                  <c:v>0.76254008422538344</c:v>
                </c:pt>
                <c:pt idx="587">
                  <c:v>0.75881835930237451</c:v>
                </c:pt>
                <c:pt idx="588">
                  <c:v>0.75054785947346569</c:v>
                </c:pt>
                <c:pt idx="589">
                  <c:v>0.72366873502951246</c:v>
                </c:pt>
                <c:pt idx="590">
                  <c:v>0.74062325967877518</c:v>
                </c:pt>
                <c:pt idx="591">
                  <c:v>0.77701345892597362</c:v>
                </c:pt>
                <c:pt idx="592">
                  <c:v>0.75881835930237451</c:v>
                </c:pt>
                <c:pt idx="593">
                  <c:v>0.7765999339345282</c:v>
                </c:pt>
                <c:pt idx="594">
                  <c:v>0.7765999339345282</c:v>
                </c:pt>
                <c:pt idx="595">
                  <c:v>0.78404338378054605</c:v>
                </c:pt>
                <c:pt idx="596">
                  <c:v>0.84524508251447061</c:v>
                </c:pt>
                <c:pt idx="597">
                  <c:v>0.912236131128631</c:v>
                </c:pt>
                <c:pt idx="598">
                  <c:v>0.95813740517907442</c:v>
                </c:pt>
                <c:pt idx="599">
                  <c:v>0.93580705564102085</c:v>
                </c:pt>
                <c:pt idx="600">
                  <c:v>0.93952878056402966</c:v>
                </c:pt>
                <c:pt idx="601">
                  <c:v>0.91678490603453089</c:v>
                </c:pt>
                <c:pt idx="602">
                  <c:v>0.87555285462320032</c:v>
                </c:pt>
                <c:pt idx="603">
                  <c:v>0.91170525061381191</c:v>
                </c:pt>
                <c:pt idx="604">
                  <c:v>0.91170525061381191</c:v>
                </c:pt>
                <c:pt idx="605">
                  <c:v>0.95201309441943627</c:v>
                </c:pt>
                <c:pt idx="606">
                  <c:v>0.94661101225991939</c:v>
                </c:pt>
                <c:pt idx="607">
                  <c:v>0.99273648300656181</c:v>
                </c:pt>
                <c:pt idx="608">
                  <c:v>0.97112815436849509</c:v>
                </c:pt>
                <c:pt idx="609">
                  <c:v>0.94577992269691691</c:v>
                </c:pt>
                <c:pt idx="610">
                  <c:v>0.91627624321032575</c:v>
                </c:pt>
                <c:pt idx="611">
                  <c:v>0.91752287755482964</c:v>
                </c:pt>
                <c:pt idx="612">
                  <c:v>0.91710733277332834</c:v>
                </c:pt>
                <c:pt idx="613">
                  <c:v>0.91669178799182705</c:v>
                </c:pt>
                <c:pt idx="614">
                  <c:v>0.89425236979075795</c:v>
                </c:pt>
                <c:pt idx="615">
                  <c:v>0.90671871323579634</c:v>
                </c:pt>
                <c:pt idx="616">
                  <c:v>0.94079338531890166</c:v>
                </c:pt>
                <c:pt idx="617">
                  <c:v>0.97611469174651044</c:v>
                </c:pt>
                <c:pt idx="618">
                  <c:v>0.93830011662989377</c:v>
                </c:pt>
                <c:pt idx="619">
                  <c:v>0.91544515364732326</c:v>
                </c:pt>
                <c:pt idx="620">
                  <c:v>0.88137048156421827</c:v>
                </c:pt>
                <c:pt idx="621">
                  <c:v>0.9121207953953131</c:v>
                </c:pt>
                <c:pt idx="622">
                  <c:v>0.92250941493284511</c:v>
                </c:pt>
                <c:pt idx="623">
                  <c:v>0.92279128976477198</c:v>
                </c:pt>
                <c:pt idx="624">
                  <c:v>0.93567711408130716</c:v>
                </c:pt>
                <c:pt idx="625">
                  <c:v>0.96020174745793851</c:v>
                </c:pt>
                <c:pt idx="626">
                  <c:v>1.0088353424590548</c:v>
                </c:pt>
                <c:pt idx="627">
                  <c:v>1.0308659453228084</c:v>
                </c:pt>
                <c:pt idx="628">
                  <c:v>1.0258778842970528</c:v>
                </c:pt>
                <c:pt idx="629">
                  <c:v>1.0462458001522212</c:v>
                </c:pt>
                <c:pt idx="630">
                  <c:v>1.0308659453228084</c:v>
                </c:pt>
                <c:pt idx="631">
                  <c:v>1.0952950669054839</c:v>
                </c:pt>
                <c:pt idx="632">
                  <c:v>1.0462458001522212</c:v>
                </c:pt>
                <c:pt idx="633">
                  <c:v>1.0358540063485639</c:v>
                </c:pt>
                <c:pt idx="634">
                  <c:v>1.0591316244687563</c:v>
                </c:pt>
                <c:pt idx="635">
                  <c:v>1.0371010216050027</c:v>
                </c:pt>
                <c:pt idx="636">
                  <c:v>1.0055099684418844</c:v>
                </c:pt>
                <c:pt idx="637">
                  <c:v>1.0050942966897383</c:v>
                </c:pt>
                <c:pt idx="638">
                  <c:v>0.9614487627143774</c:v>
                </c:pt>
                <c:pt idx="639">
                  <c:v>0.95271965591930519</c:v>
                </c:pt>
                <c:pt idx="640">
                  <c:v>0.95604502993647555</c:v>
                </c:pt>
                <c:pt idx="641">
                  <c:v>0.9614487627143774</c:v>
                </c:pt>
                <c:pt idx="642">
                  <c:v>0.97225622827018099</c:v>
                </c:pt>
                <c:pt idx="643">
                  <c:v>0.91738755698687002</c:v>
                </c:pt>
                <c:pt idx="644">
                  <c:v>0.88330247331087419</c:v>
                </c:pt>
                <c:pt idx="645">
                  <c:v>0.88579650382375197</c:v>
                </c:pt>
                <c:pt idx="646">
                  <c:v>0.87914575578941112</c:v>
                </c:pt>
                <c:pt idx="647">
                  <c:v>0.82510842801039308</c:v>
                </c:pt>
                <c:pt idx="648">
                  <c:v>0.82884947377970963</c:v>
                </c:pt>
                <c:pt idx="649">
                  <c:v>0.82884947377970963</c:v>
                </c:pt>
                <c:pt idx="650">
                  <c:v>0.81804200822390594</c:v>
                </c:pt>
                <c:pt idx="651">
                  <c:v>0.85337410715634099</c:v>
                </c:pt>
                <c:pt idx="652">
                  <c:v>0.88538083207160567</c:v>
                </c:pt>
                <c:pt idx="653">
                  <c:v>0.92486964852550346</c:v>
                </c:pt>
                <c:pt idx="654">
                  <c:v>0.86293455745570569</c:v>
                </c:pt>
                <c:pt idx="655">
                  <c:v>0.88496516031945927</c:v>
                </c:pt>
                <c:pt idx="656">
                  <c:v>0.8999293433967257</c:v>
                </c:pt>
                <c:pt idx="657">
                  <c:v>0.83633156531834307</c:v>
                </c:pt>
                <c:pt idx="658">
                  <c:v>0.83425320655761148</c:v>
                </c:pt>
                <c:pt idx="659">
                  <c:v>0.81596364946317446</c:v>
                </c:pt>
                <c:pt idx="660">
                  <c:v>0.81055991668527272</c:v>
                </c:pt>
                <c:pt idx="661">
                  <c:v>0.81180693194171172</c:v>
                </c:pt>
                <c:pt idx="662">
                  <c:v>0.80141513813805432</c:v>
                </c:pt>
                <c:pt idx="663">
                  <c:v>0.82843380202756323</c:v>
                </c:pt>
                <c:pt idx="664">
                  <c:v>0.83924126758336703</c:v>
                </c:pt>
                <c:pt idx="665">
                  <c:v>0.88371814506302038</c:v>
                </c:pt>
                <c:pt idx="666">
                  <c:v>0.88205545805443519</c:v>
                </c:pt>
                <c:pt idx="667">
                  <c:v>0.92711624827951367</c:v>
                </c:pt>
                <c:pt idx="668">
                  <c:v>0.95562999992266473</c:v>
                </c:pt>
                <c:pt idx="669">
                  <c:v>0.92879352778793434</c:v>
                </c:pt>
                <c:pt idx="670">
                  <c:v>0.92418100913977763</c:v>
                </c:pt>
                <c:pt idx="671">
                  <c:v>0.92837420791082914</c:v>
                </c:pt>
                <c:pt idx="672">
                  <c:v>0.90027977614478327</c:v>
                </c:pt>
                <c:pt idx="673">
                  <c:v>0.92334236938556724</c:v>
                </c:pt>
                <c:pt idx="674">
                  <c:v>0.98540171119713127</c:v>
                </c:pt>
                <c:pt idx="675">
                  <c:v>0.94850156201187708</c:v>
                </c:pt>
                <c:pt idx="676">
                  <c:v>1.0239791398908062</c:v>
                </c:pt>
                <c:pt idx="677">
                  <c:v>1.0529122114110623</c:v>
                </c:pt>
                <c:pt idx="678">
                  <c:v>1.0373973759581714</c:v>
                </c:pt>
                <c:pt idx="679">
                  <c:v>1.1051175361106551</c:v>
                </c:pt>
                <c:pt idx="680">
                  <c:v>1.0726202456350049</c:v>
                </c:pt>
                <c:pt idx="681">
                  <c:v>1.0763941245289517</c:v>
                </c:pt>
                <c:pt idx="682">
                  <c:v>1.0851998419481599</c:v>
                </c:pt>
                <c:pt idx="683">
                  <c:v>1.0661901792617174</c:v>
                </c:pt>
                <c:pt idx="684">
                  <c:v>1.0389057849105319</c:v>
                </c:pt>
                <c:pt idx="685">
                  <c:v>0.9650280402057827</c:v>
                </c:pt>
                <c:pt idx="686">
                  <c:v>0.95285500272602308</c:v>
                </c:pt>
                <c:pt idx="687">
                  <c:v>0.85840902227961102</c:v>
                </c:pt>
                <c:pt idx="688">
                  <c:v>0.8651251808891337</c:v>
                </c:pt>
                <c:pt idx="689">
                  <c:v>0.85882878219270631</c:v>
                </c:pt>
                <c:pt idx="690">
                  <c:v>0.84665574471294658</c:v>
                </c:pt>
                <c:pt idx="691">
                  <c:v>0.92263228898317129</c:v>
                </c:pt>
                <c:pt idx="692">
                  <c:v>0.99902859316649117</c:v>
                </c:pt>
                <c:pt idx="693">
                  <c:v>0.98559627594744592</c:v>
                </c:pt>
                <c:pt idx="694">
                  <c:v>1.0309303465617237</c:v>
                </c:pt>
                <c:pt idx="695">
                  <c:v>0.98307771646887487</c:v>
                </c:pt>
                <c:pt idx="696">
                  <c:v>0.95369452255221343</c:v>
                </c:pt>
                <c:pt idx="697">
                  <c:v>0.94068196524626335</c:v>
                </c:pt>
                <c:pt idx="698">
                  <c:v>0.9255706083748374</c:v>
                </c:pt>
                <c:pt idx="699">
                  <c:v>0.91003949159031627</c:v>
                </c:pt>
                <c:pt idx="700">
                  <c:v>0.93984244542007289</c:v>
                </c:pt>
                <c:pt idx="701">
                  <c:v>0.93984244542007289</c:v>
                </c:pt>
                <c:pt idx="702">
                  <c:v>0.91801492993912448</c:v>
                </c:pt>
                <c:pt idx="703">
                  <c:v>0.90542213254626958</c:v>
                </c:pt>
                <c:pt idx="704">
                  <c:v>0.8856934166307967</c:v>
                </c:pt>
                <c:pt idx="705">
                  <c:v>0.92263228898317129</c:v>
                </c:pt>
                <c:pt idx="706">
                  <c:v>0.95537356220459413</c:v>
                </c:pt>
                <c:pt idx="707">
                  <c:v>0.94865740359507156</c:v>
                </c:pt>
                <c:pt idx="708">
                  <c:v>0.90080477350222266</c:v>
                </c:pt>
                <c:pt idx="709">
                  <c:v>0.91465685063436308</c:v>
                </c:pt>
                <c:pt idx="710">
                  <c:v>0.92347180880936164</c:v>
                </c:pt>
                <c:pt idx="711">
                  <c:v>0.95159572298673767</c:v>
                </c:pt>
                <c:pt idx="712">
                  <c:v>0.94194124498554899</c:v>
                </c:pt>
                <c:pt idx="713">
                  <c:v>1.0133004302117268</c:v>
                </c:pt>
                <c:pt idx="714">
                  <c:v>0.97258371864149573</c:v>
                </c:pt>
                <c:pt idx="715">
                  <c:v>0.97762083759863772</c:v>
                </c:pt>
                <c:pt idx="716">
                  <c:v>0.96796635959744892</c:v>
                </c:pt>
                <c:pt idx="717">
                  <c:v>0.95621308203078448</c:v>
                </c:pt>
                <c:pt idx="718">
                  <c:v>0.90374309289388888</c:v>
                </c:pt>
                <c:pt idx="719">
                  <c:v>0.91633589028674378</c:v>
                </c:pt>
                <c:pt idx="720">
                  <c:v>0.9112987713296018</c:v>
                </c:pt>
                <c:pt idx="721">
                  <c:v>0.88443413689151129</c:v>
                </c:pt>
                <c:pt idx="722">
                  <c:v>0.87897725802127424</c:v>
                </c:pt>
                <c:pt idx="723">
                  <c:v>0.87897725802127424</c:v>
                </c:pt>
                <c:pt idx="724">
                  <c:v>0.83658150679866261</c:v>
                </c:pt>
                <c:pt idx="725">
                  <c:v>0.85253238349627869</c:v>
                </c:pt>
                <c:pt idx="726">
                  <c:v>0.89157005541412904</c:v>
                </c:pt>
                <c:pt idx="727">
                  <c:v>0.89534789463198539</c:v>
                </c:pt>
                <c:pt idx="728">
                  <c:v>0.9295869875351731</c:v>
                </c:pt>
                <c:pt idx="729">
                  <c:v>0.9473255852073571</c:v>
                </c:pt>
                <c:pt idx="730">
                  <c:v>0.93423281073503073</c:v>
                </c:pt>
                <c:pt idx="731">
                  <c:v>0.88608518848195961</c:v>
                </c:pt>
                <c:pt idx="732">
                  <c:v>0.92367412164444496</c:v>
                </c:pt>
                <c:pt idx="733">
                  <c:v>0.89917796295428576</c:v>
                </c:pt>
                <c:pt idx="734">
                  <c:v>0.93423281073503073</c:v>
                </c:pt>
                <c:pt idx="735">
                  <c:v>0.9202953411354573</c:v>
                </c:pt>
                <c:pt idx="736">
                  <c:v>0.93972332906213529</c:v>
                </c:pt>
                <c:pt idx="737">
                  <c:v>0.93972332906213529</c:v>
                </c:pt>
                <c:pt idx="738">
                  <c:v>0.97435582927925679</c:v>
                </c:pt>
                <c:pt idx="739">
                  <c:v>0.96971000607939906</c:v>
                </c:pt>
                <c:pt idx="740">
                  <c:v>0.97435582927925679</c:v>
                </c:pt>
                <c:pt idx="741">
                  <c:v>0.98575921349708939</c:v>
                </c:pt>
                <c:pt idx="742">
                  <c:v>1.0959919276028049</c:v>
                </c:pt>
                <c:pt idx="743">
                  <c:v>1.0863377265253633</c:v>
                </c:pt>
                <c:pt idx="744">
                  <c:v>1.1108447619740101</c:v>
                </c:pt>
                <c:pt idx="745">
                  <c:v>1.1653517890925522</c:v>
                </c:pt>
                <c:pt idx="746">
                  <c:v>1.1256334902619864</c:v>
                </c:pt>
                <c:pt idx="747">
                  <c:v>1.0652109718282539</c:v>
                </c:pt>
                <c:pt idx="748">
                  <c:v>1.0377461907220116</c:v>
                </c:pt>
                <c:pt idx="749">
                  <c:v>1.014084225461249</c:v>
                </c:pt>
                <c:pt idx="750">
                  <c:v>0.99633775151567738</c:v>
                </c:pt>
                <c:pt idx="751">
                  <c:v>1.0204222518703818</c:v>
                </c:pt>
                <c:pt idx="752">
                  <c:v>0.99676028660961935</c:v>
                </c:pt>
                <c:pt idx="753">
                  <c:v>1.022534927340093</c:v>
                </c:pt>
                <c:pt idx="754">
                  <c:v>0.99464761113990852</c:v>
                </c:pt>
                <c:pt idx="755">
                  <c:v>0.99718282170356176</c:v>
                </c:pt>
                <c:pt idx="756">
                  <c:v>0.97394339153674125</c:v>
                </c:pt>
                <c:pt idx="757">
                  <c:v>0.97394339153674125</c:v>
                </c:pt>
                <c:pt idx="758">
                  <c:v>0.95492931230934308</c:v>
                </c:pt>
                <c:pt idx="759">
                  <c:v>0.97225325116097283</c:v>
                </c:pt>
                <c:pt idx="760">
                  <c:v>0.99591521642173508</c:v>
                </c:pt>
                <c:pt idx="761">
                  <c:v>0.96211240890635996</c:v>
                </c:pt>
                <c:pt idx="762">
                  <c:v>0.97225325116097283</c:v>
                </c:pt>
                <c:pt idx="763">
                  <c:v>0.97183071606703042</c:v>
                </c:pt>
                <c:pt idx="764">
                  <c:v>0.97309832134885699</c:v>
                </c:pt>
                <c:pt idx="765">
                  <c:v>0.9540842421214587</c:v>
                </c:pt>
                <c:pt idx="766">
                  <c:v>0.96042226853059143</c:v>
                </c:pt>
                <c:pt idx="767">
                  <c:v>0.94098565420925073</c:v>
                </c:pt>
                <c:pt idx="768">
                  <c:v>0.92197157498185245</c:v>
                </c:pt>
                <c:pt idx="769">
                  <c:v>0.89028144293618838</c:v>
                </c:pt>
                <c:pt idx="770">
                  <c:v>0.83323920525399309</c:v>
                </c:pt>
                <c:pt idx="771">
                  <c:v>0.78507020454458365</c:v>
                </c:pt>
                <c:pt idx="772">
                  <c:v>0.7647885200353588</c:v>
                </c:pt>
                <c:pt idx="773">
                  <c:v>0.78084485360516187</c:v>
                </c:pt>
                <c:pt idx="774">
                  <c:v>0.79436597661131192</c:v>
                </c:pt>
                <c:pt idx="775">
                  <c:v>0.78929555548400554</c:v>
                </c:pt>
                <c:pt idx="776">
                  <c:v>0.77492936228997111</c:v>
                </c:pt>
                <c:pt idx="777">
                  <c:v>0.77450682719602892</c:v>
                </c:pt>
                <c:pt idx="778">
                  <c:v>0.81338005583871031</c:v>
                </c:pt>
                <c:pt idx="779">
                  <c:v>0.78633780982641033</c:v>
                </c:pt>
                <c:pt idx="780">
                  <c:v>0.80915470489928831</c:v>
                </c:pt>
                <c:pt idx="781">
                  <c:v>0.79816879245679162</c:v>
                </c:pt>
                <c:pt idx="782">
                  <c:v>0.80492935395986664</c:v>
                </c:pt>
                <c:pt idx="783">
                  <c:v>0.7914082309537166</c:v>
                </c:pt>
                <c:pt idx="784">
                  <c:v>0.80873216980534635</c:v>
                </c:pt>
                <c:pt idx="785">
                  <c:v>0.80577442414775091</c:v>
                </c:pt>
                <c:pt idx="786">
                  <c:v>0.83969856997805281</c:v>
                </c:pt>
                <c:pt idx="787">
                  <c:v>0.82648503918144389</c:v>
                </c:pt>
                <c:pt idx="788">
                  <c:v>0.84651845684081883</c:v>
                </c:pt>
                <c:pt idx="789">
                  <c:v>0.8844540775149542</c:v>
                </c:pt>
                <c:pt idx="790">
                  <c:v>0.8844540775149542</c:v>
                </c:pt>
                <c:pt idx="791">
                  <c:v>0.88488032044387699</c:v>
                </c:pt>
                <c:pt idx="792">
                  <c:v>0.87976540529680269</c:v>
                </c:pt>
                <c:pt idx="793">
                  <c:v>0.87465049014972818</c:v>
                </c:pt>
                <c:pt idx="794">
                  <c:v>0.897667608311563</c:v>
                </c:pt>
                <c:pt idx="795">
                  <c:v>0.88786402094633698</c:v>
                </c:pt>
                <c:pt idx="796">
                  <c:v>0.87806043358111119</c:v>
                </c:pt>
                <c:pt idx="797">
                  <c:v>0.90789743860571204</c:v>
                </c:pt>
                <c:pt idx="798">
                  <c:v>0.89425766488018021</c:v>
                </c:pt>
                <c:pt idx="799">
                  <c:v>0.86399441692665635</c:v>
                </c:pt>
                <c:pt idx="800">
                  <c:v>0.86783060328696227</c:v>
                </c:pt>
                <c:pt idx="801">
                  <c:v>0.82520631039467529</c:v>
                </c:pt>
                <c:pt idx="802">
                  <c:v>0.79792676294361153</c:v>
                </c:pt>
                <c:pt idx="803">
                  <c:v>0.80346792101960907</c:v>
                </c:pt>
                <c:pt idx="804">
                  <c:v>0.81582896595837207</c:v>
                </c:pt>
                <c:pt idx="805">
                  <c:v>0.79188676465172303</c:v>
                </c:pt>
                <c:pt idx="806">
                  <c:v>0.87077693775919163</c:v>
                </c:pt>
                <c:pt idx="807">
                  <c:v>0.89508363974365468</c:v>
                </c:pt>
                <c:pt idx="808">
                  <c:v>0.91555244141478154</c:v>
                </c:pt>
                <c:pt idx="809">
                  <c:v>0.9172581748873756</c:v>
                </c:pt>
                <c:pt idx="810">
                  <c:v>0.97098877927408378</c:v>
                </c:pt>
                <c:pt idx="811">
                  <c:v>0.9722680793785291</c:v>
                </c:pt>
                <c:pt idx="812">
                  <c:v>0.96288654527926265</c:v>
                </c:pt>
                <c:pt idx="813">
                  <c:v>0.97695884642816244</c:v>
                </c:pt>
                <c:pt idx="814">
                  <c:v>0.95350501117999609</c:v>
                </c:pt>
                <c:pt idx="815">
                  <c:v>0.95563717802073855</c:v>
                </c:pt>
                <c:pt idx="816">
                  <c:v>0.9500935442348083</c:v>
                </c:pt>
                <c:pt idx="817">
                  <c:v>0.95649004475703536</c:v>
                </c:pt>
                <c:pt idx="818">
                  <c:v>0.93815340992665086</c:v>
                </c:pt>
                <c:pt idx="819">
                  <c:v>0.94113844350369047</c:v>
                </c:pt>
                <c:pt idx="820">
                  <c:v>0.96459227875185671</c:v>
                </c:pt>
                <c:pt idx="821">
                  <c:v>0.98122318010964726</c:v>
                </c:pt>
                <c:pt idx="822">
                  <c:v>0.99870694820373473</c:v>
                </c:pt>
                <c:pt idx="823">
                  <c:v>0.99870694820373473</c:v>
                </c:pt>
                <c:pt idx="824">
                  <c:v>1.0123528159844859</c:v>
                </c:pt>
                <c:pt idx="825">
                  <c:v>1.0387916848096916</c:v>
                </c:pt>
                <c:pt idx="826">
                  <c:v>1.0242929502926434</c:v>
                </c:pt>
                <c:pt idx="827">
                  <c:v>1.0221607834519011</c:v>
                </c:pt>
                <c:pt idx="828">
                  <c:v>1.0277044172378313</c:v>
                </c:pt>
                <c:pt idx="829">
                  <c:v>1.1010509565593696</c:v>
                </c:pt>
                <c:pt idx="830">
                  <c:v>1.0524375525904428</c:v>
                </c:pt>
                <c:pt idx="831">
                  <c:v>1.0643776868986004</c:v>
                </c:pt>
                <c:pt idx="832">
                  <c:v>1.1104324906586358</c:v>
                </c:pt>
                <c:pt idx="833">
                  <c:v>1.1053152902408541</c:v>
                </c:pt>
                <c:pt idx="834">
                  <c:v>1.1215197582304963</c:v>
                </c:pt>
                <c:pt idx="835">
                  <c:v>1.1586194612594138</c:v>
                </c:pt>
                <c:pt idx="836">
                  <c:v>1.1726917624083135</c:v>
                </c:pt>
                <c:pt idx="837">
                  <c:v>1.1662952618860865</c:v>
                </c:pt>
                <c:pt idx="838">
                  <c:v>1.1662952618860865</c:v>
                </c:pt>
                <c:pt idx="839">
                  <c:v>1.1581930278912653</c:v>
                </c:pt>
                <c:pt idx="840">
                  <c:v>1.1432678600060686</c:v>
                </c:pt>
                <c:pt idx="841">
                  <c:v>1.1253576585438327</c:v>
                </c:pt>
                <c:pt idx="842">
                  <c:v>1.1662952618860865</c:v>
                </c:pt>
                <c:pt idx="843">
                  <c:v>1.1940134308157375</c:v>
                </c:pt>
                <c:pt idx="844">
                  <c:v>1.2289809670039129</c:v>
                </c:pt>
                <c:pt idx="845">
                  <c:v>1.2013479610687059</c:v>
                </c:pt>
                <c:pt idx="846">
                  <c:v>1.1766270824474365</c:v>
                </c:pt>
                <c:pt idx="847">
                  <c:v>1.1766270824474365</c:v>
                </c:pt>
                <c:pt idx="848">
                  <c:v>1.1892043715705385</c:v>
                </c:pt>
                <c:pt idx="849">
                  <c:v>1.1636160936994</c:v>
                </c:pt>
                <c:pt idx="850">
                  <c:v>1.144967009827214</c:v>
                </c:pt>
                <c:pt idx="851">
                  <c:v>1.1861684741959968</c:v>
                </c:pt>
                <c:pt idx="852">
                  <c:v>1.2087208546925934</c:v>
                </c:pt>
                <c:pt idx="853">
                  <c:v>1.2182622464411534</c:v>
                </c:pt>
                <c:pt idx="854">
                  <c:v>1.2859193879309432</c:v>
                </c:pt>
                <c:pt idx="855">
                  <c:v>1.2659692051839539</c:v>
                </c:pt>
                <c:pt idx="856">
                  <c:v>1.3184468598010346</c:v>
                </c:pt>
                <c:pt idx="857">
                  <c:v>1.3201816583007728</c:v>
                </c:pt>
                <c:pt idx="858">
                  <c:v>1.2924248823049616</c:v>
                </c:pt>
                <c:pt idx="859">
                  <c:v>1.2659692051839539</c:v>
                </c:pt>
                <c:pt idx="860">
                  <c:v>1.25512671456059</c:v>
                </c:pt>
                <c:pt idx="861">
                  <c:v>1.2564278134353939</c:v>
                </c:pt>
                <c:pt idx="862">
                  <c:v>1.2846182890561397</c:v>
                </c:pt>
                <c:pt idx="863">
                  <c:v>1.2577289123101976</c:v>
                </c:pt>
                <c:pt idx="864">
                  <c:v>1.25512671456059</c:v>
                </c:pt>
                <c:pt idx="865">
                  <c:v>1.2863530875558777</c:v>
                </c:pt>
                <c:pt idx="866">
                  <c:v>1.336663770634231</c:v>
                </c:pt>
                <c:pt idx="867">
                  <c:v>1.2867072111207645</c:v>
                </c:pt>
                <c:pt idx="868">
                  <c:v>1.2324066029539531</c:v>
                </c:pt>
                <c:pt idx="869">
                  <c:v>1.2741094700260642</c:v>
                </c:pt>
                <c:pt idx="870">
                  <c:v>1.2867072111207645</c:v>
                </c:pt>
                <c:pt idx="871">
                  <c:v>1.2706342311033882</c:v>
                </c:pt>
                <c:pt idx="872">
                  <c:v>1.2250217202432667</c:v>
                </c:pt>
                <c:pt idx="873">
                  <c:v>1.1885317115551695</c:v>
                </c:pt>
                <c:pt idx="874">
                  <c:v>1.1585577758470895</c:v>
                </c:pt>
                <c:pt idx="875">
                  <c:v>1.1533449174630757</c:v>
                </c:pt>
                <c:pt idx="876">
                  <c:v>1.1589921807124239</c:v>
                </c:pt>
                <c:pt idx="877">
                  <c:v>1.1511728931364031</c:v>
                </c:pt>
                <c:pt idx="878">
                  <c:v>1.1737619461337967</c:v>
                </c:pt>
                <c:pt idx="879">
                  <c:v>1.1620330147697655</c:v>
                </c:pt>
                <c:pt idx="880">
                  <c:v>1.1685490877497828</c:v>
                </c:pt>
                <c:pt idx="881">
                  <c:v>1.1728931364031279</c:v>
                </c:pt>
                <c:pt idx="882">
                  <c:v>1.1815812337098175</c:v>
                </c:pt>
                <c:pt idx="883">
                  <c:v>1.1802780191138142</c:v>
                </c:pt>
                <c:pt idx="884">
                  <c:v>1.1615986099044309</c:v>
                </c:pt>
                <c:pt idx="885">
                  <c:v>1.1620330147697655</c:v>
                </c:pt>
                <c:pt idx="886">
                  <c:v>1.1711555169417898</c:v>
                </c:pt>
                <c:pt idx="887">
                  <c:v>1.1898349261511729</c:v>
                </c:pt>
                <c:pt idx="888">
                  <c:v>1.231537793223284</c:v>
                </c:pt>
                <c:pt idx="889">
                  <c:v>1.2463075586446568</c:v>
                </c:pt>
                <c:pt idx="890">
                  <c:v>1.2910512597741095</c:v>
                </c:pt>
                <c:pt idx="891">
                  <c:v>1.2910512597741095</c:v>
                </c:pt>
                <c:pt idx="892">
                  <c:v>1.2636837532580365</c:v>
                </c:pt>
                <c:pt idx="893">
                  <c:v>1.2593397046046915</c:v>
                </c:pt>
                <c:pt idx="894">
                  <c:v>1.2332754126846219</c:v>
                </c:pt>
                <c:pt idx="895">
                  <c:v>1.188097306689835</c:v>
                </c:pt>
                <c:pt idx="896">
                  <c:v>1.1685490877497828</c:v>
                </c:pt>
                <c:pt idx="897">
                  <c:v>1.1490008688097304</c:v>
                </c:pt>
                <c:pt idx="898">
                  <c:v>1.1702867072111207</c:v>
                </c:pt>
                <c:pt idx="899">
                  <c:v>1.2106863596872286</c:v>
                </c:pt>
                <c:pt idx="900">
                  <c:v>1.1741963509991311</c:v>
                </c:pt>
                <c:pt idx="901">
                  <c:v>1.1720243266724586</c:v>
                </c:pt>
                <c:pt idx="902">
                  <c:v>1.152910512597741</c:v>
                </c:pt>
                <c:pt idx="903">
                  <c:v>1.1507384882710687</c:v>
                </c:pt>
                <c:pt idx="904">
                  <c:v>1.129018245004344</c:v>
                </c:pt>
                <c:pt idx="905">
                  <c:v>1.1294526498696786</c:v>
                </c:pt>
                <c:pt idx="906">
                  <c:v>1.1185925282363163</c:v>
                </c:pt>
                <c:pt idx="907">
                  <c:v>1.0999131190269331</c:v>
                </c:pt>
                <c:pt idx="908">
                  <c:v>1.1177237185056472</c:v>
                </c:pt>
                <c:pt idx="909">
                  <c:v>1.1003475238922675</c:v>
                </c:pt>
                <c:pt idx="910">
                  <c:v>1.0291051259774111</c:v>
                </c:pt>
                <c:pt idx="911">
                  <c:v>1.0499565595134666</c:v>
                </c:pt>
                <c:pt idx="912">
                  <c:v>1.0599478714161599</c:v>
                </c:pt>
                <c:pt idx="913">
                  <c:v>1.0238922675933972</c:v>
                </c:pt>
                <c:pt idx="914">
                  <c:v>1.0147697654213728</c:v>
                </c:pt>
                <c:pt idx="915">
                  <c:v>1.0373588184187663</c:v>
                </c:pt>
                <c:pt idx="916">
                  <c:v>1.0282363162467421</c:v>
                </c:pt>
                <c:pt idx="917">
                  <c:v>0.99869678540399665</c:v>
                </c:pt>
                <c:pt idx="918">
                  <c:v>0.97784535186794086</c:v>
                </c:pt>
                <c:pt idx="919">
                  <c:v>0.97263249348392689</c:v>
                </c:pt>
                <c:pt idx="920">
                  <c:v>0.97132927888792353</c:v>
                </c:pt>
                <c:pt idx="921">
                  <c:v>1</c:v>
                </c:pt>
              </c:numCache>
            </c:numRef>
          </c:val>
          <c:smooth val="0"/>
          <c:extLst>
            <c:ext xmlns:c16="http://schemas.microsoft.com/office/drawing/2014/chart" uri="{C3380CC4-5D6E-409C-BE32-E72D297353CC}">
              <c16:uniqueId val="{00000004-B9B2-4D69-9144-C8D4670E5D4F}"/>
            </c:ext>
          </c:extLst>
        </c:ser>
        <c:ser>
          <c:idx val="5"/>
          <c:order val="5"/>
          <c:tx>
            <c:strRef>
              <c:f>Sheet3!$W$1</c:f>
              <c:strCache>
                <c:ptCount val="1"/>
                <c:pt idx="0">
                  <c:v>HASHICORP</c:v>
                </c:pt>
              </c:strCache>
            </c:strRef>
          </c:tx>
          <c:spPr>
            <a:ln w="28575" cap="rnd">
              <a:solidFill>
                <a:schemeClr val="accent1">
                  <a:tint val="65000"/>
                </a:schemeClr>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W$2:$W$1410</c:f>
              <c:numCache>
                <c:formatCode>General</c:formatCode>
                <c:ptCount val="1409"/>
                <c:pt idx="469">
                  <c:v>3.6713111118134587</c:v>
                </c:pt>
                <c:pt idx="470">
                  <c:v>3.6932898495411832</c:v>
                </c:pt>
                <c:pt idx="471">
                  <c:v>3.7057875631510662</c:v>
                </c:pt>
                <c:pt idx="472">
                  <c:v>3.620458346090488</c:v>
                </c:pt>
                <c:pt idx="473">
                  <c:v>3.659675309487016</c:v>
                </c:pt>
                <c:pt idx="474">
                  <c:v>3.5338362621047499</c:v>
                </c:pt>
                <c:pt idx="475">
                  <c:v>3.4860001858738197</c:v>
                </c:pt>
                <c:pt idx="476">
                  <c:v>3.4476451337607315</c:v>
                </c:pt>
                <c:pt idx="477">
                  <c:v>3.6618300876956167</c:v>
                </c:pt>
                <c:pt idx="478">
                  <c:v>3.7006160954504255</c:v>
                </c:pt>
                <c:pt idx="479">
                  <c:v>3.8708435739298608</c:v>
                </c:pt>
                <c:pt idx="480">
                  <c:v>3.8708435739298608</c:v>
                </c:pt>
                <c:pt idx="481">
                  <c:v>4.2061270631880925</c:v>
                </c:pt>
                <c:pt idx="482">
                  <c:v>4.0156446695478119</c:v>
                </c:pt>
                <c:pt idx="483">
                  <c:v>3.8712745295715814</c:v>
                </c:pt>
                <c:pt idx="484">
                  <c:v>3.9018723801337076</c:v>
                </c:pt>
                <c:pt idx="485">
                  <c:v>3.9234201622197129</c:v>
                </c:pt>
                <c:pt idx="486">
                  <c:v>3.3972233236794809</c:v>
                </c:pt>
                <c:pt idx="487">
                  <c:v>3.1369261160805455</c:v>
                </c:pt>
                <c:pt idx="488">
                  <c:v>3.350680114373711</c:v>
                </c:pt>
                <c:pt idx="489">
                  <c:v>3.092968640625096</c:v>
                </c:pt>
                <c:pt idx="490">
                  <c:v>3.049011165169647</c:v>
                </c:pt>
                <c:pt idx="491">
                  <c:v>3.1787288133273948</c:v>
                </c:pt>
                <c:pt idx="492">
                  <c:v>3.1145164227111009</c:v>
                </c:pt>
                <c:pt idx="493">
                  <c:v>2.8861099325994521</c:v>
                </c:pt>
                <c:pt idx="494">
                  <c:v>2.8740431746312898</c:v>
                </c:pt>
                <c:pt idx="495">
                  <c:v>2.8740431746312898</c:v>
                </c:pt>
                <c:pt idx="496">
                  <c:v>2.7796638890945897</c:v>
                </c:pt>
                <c:pt idx="497">
                  <c:v>2.6990751840929326</c:v>
                </c:pt>
                <c:pt idx="498">
                  <c:v>2.7137276759114157</c:v>
                </c:pt>
                <c:pt idx="499">
                  <c:v>2.5396215966564988</c:v>
                </c:pt>
                <c:pt idx="500">
                  <c:v>2.6753726237983275</c:v>
                </c:pt>
                <c:pt idx="501">
                  <c:v>2.3922347671882274</c:v>
                </c:pt>
                <c:pt idx="502">
                  <c:v>2.4943712542758893</c:v>
                </c:pt>
                <c:pt idx="503">
                  <c:v>2.5275548386883364</c:v>
                </c:pt>
                <c:pt idx="504">
                  <c:v>2.7154514984782958</c:v>
                </c:pt>
                <c:pt idx="505">
                  <c:v>3.0850127734081569</c:v>
                </c:pt>
                <c:pt idx="506">
                  <c:v>3.3351489442250339</c:v>
                </c:pt>
                <c:pt idx="507">
                  <c:v>3.4215995155424461</c:v>
                </c:pt>
                <c:pt idx="508">
                  <c:v>3.3645509151807027</c:v>
                </c:pt>
                <c:pt idx="509">
                  <c:v>3.0512224485785087</c:v>
                </c:pt>
                <c:pt idx="510">
                  <c:v>2.9906631651175806</c:v>
                </c:pt>
                <c:pt idx="511">
                  <c:v>3.0608768271012647</c:v>
                </c:pt>
                <c:pt idx="512">
                  <c:v>2.8989465691513918</c:v>
                </c:pt>
                <c:pt idx="513">
                  <c:v>2.5676258516658783</c:v>
                </c:pt>
                <c:pt idx="514">
                  <c:v>2.3877033428326855</c:v>
                </c:pt>
                <c:pt idx="515">
                  <c:v>2.3877033428326855</c:v>
                </c:pt>
                <c:pt idx="516">
                  <c:v>2.3556683595526291</c:v>
                </c:pt>
                <c:pt idx="517">
                  <c:v>2.1454662089889727</c:v>
                </c:pt>
                <c:pt idx="518">
                  <c:v>2.3477693225794649</c:v>
                </c:pt>
                <c:pt idx="519">
                  <c:v>2.2336721218559772</c:v>
                </c:pt>
                <c:pt idx="520">
                  <c:v>2.2112915170986769</c:v>
                </c:pt>
                <c:pt idx="521">
                  <c:v>2.1502933982503509</c:v>
                </c:pt>
                <c:pt idx="522">
                  <c:v>2.1634584598722917</c:v>
                </c:pt>
                <c:pt idx="523">
                  <c:v>1.9743204079037409</c:v>
                </c:pt>
                <c:pt idx="524">
                  <c:v>1.8435474624591275</c:v>
                </c:pt>
                <c:pt idx="525">
                  <c:v>1.6451938673552178</c:v>
                </c:pt>
                <c:pt idx="526">
                  <c:v>1.709702669302728</c:v>
                </c:pt>
                <c:pt idx="527">
                  <c:v>1.8540795117566802</c:v>
                </c:pt>
                <c:pt idx="528">
                  <c:v>1.6561647520401683</c:v>
                </c:pt>
                <c:pt idx="529">
                  <c:v>1.4727315601077915</c:v>
                </c:pt>
                <c:pt idx="530">
                  <c:v>1.4240208321066101</c:v>
                </c:pt>
                <c:pt idx="531">
                  <c:v>1.4828247740179459</c:v>
                </c:pt>
                <c:pt idx="532">
                  <c:v>1.8062464545302945</c:v>
                </c:pt>
                <c:pt idx="533">
                  <c:v>1.9396524122992964</c:v>
                </c:pt>
                <c:pt idx="534">
                  <c:v>2.0537496130227839</c:v>
                </c:pt>
                <c:pt idx="535">
                  <c:v>2.141037907491139</c:v>
                </c:pt>
                <c:pt idx="536">
                  <c:v>2.2259015074577575</c:v>
                </c:pt>
                <c:pt idx="537">
                  <c:v>2.2404874387020199</c:v>
                </c:pt>
                <c:pt idx="538">
                  <c:v>2.4000486865559219</c:v>
                </c:pt>
                <c:pt idx="539">
                  <c:v>2.2674493116080807</c:v>
                </c:pt>
                <c:pt idx="540">
                  <c:v>2.3470089365767857</c:v>
                </c:pt>
                <c:pt idx="541">
                  <c:v>2.5176201323430076</c:v>
                </c:pt>
                <c:pt idx="542">
                  <c:v>2.4451324740381879</c:v>
                </c:pt>
                <c:pt idx="543">
                  <c:v>2.3867887490611381</c:v>
                </c:pt>
                <c:pt idx="544">
                  <c:v>2.3867887490611381</c:v>
                </c:pt>
                <c:pt idx="545">
                  <c:v>2.3801587803137458</c:v>
                </c:pt>
                <c:pt idx="546">
                  <c:v>2.370876824067397</c:v>
                </c:pt>
                <c:pt idx="547">
                  <c:v>2.2480014032823976</c:v>
                </c:pt>
                <c:pt idx="548">
                  <c:v>2.3779487907312817</c:v>
                </c:pt>
                <c:pt idx="549">
                  <c:v>2.3996066886394294</c:v>
                </c:pt>
                <c:pt idx="550">
                  <c:v>2.5733118698211008</c:v>
                </c:pt>
                <c:pt idx="551">
                  <c:v>2.4782823177751481</c:v>
                </c:pt>
                <c:pt idx="552">
                  <c:v>2.4782823177751481</c:v>
                </c:pt>
                <c:pt idx="553">
                  <c:v>2.3492189261592498</c:v>
                </c:pt>
                <c:pt idx="554">
                  <c:v>2.5494439823304895</c:v>
                </c:pt>
                <c:pt idx="555">
                  <c:v>2.5017082073492665</c:v>
                </c:pt>
                <c:pt idx="556">
                  <c:v>2.2250175116247721</c:v>
                </c:pt>
                <c:pt idx="557">
                  <c:v>1.9951785950485141</c:v>
                </c:pt>
                <c:pt idx="558">
                  <c:v>2.2272275012072358</c:v>
                </c:pt>
                <c:pt idx="559">
                  <c:v>2.1993816324681892</c:v>
                </c:pt>
                <c:pt idx="560">
                  <c:v>2.171535763729143</c:v>
                </c:pt>
                <c:pt idx="561">
                  <c:v>2.2254595095412646</c:v>
                </c:pt>
                <c:pt idx="562">
                  <c:v>2.080926190848118</c:v>
                </c:pt>
                <c:pt idx="563">
                  <c:v>2.0503242012580545</c:v>
                </c:pt>
                <c:pt idx="564">
                  <c:v>1.7259366252765835</c:v>
                </c:pt>
                <c:pt idx="565">
                  <c:v>1.4776672799483366</c:v>
                </c:pt>
                <c:pt idx="566">
                  <c:v>1.4356252339480096</c:v>
                </c:pt>
                <c:pt idx="567">
                  <c:v>1.4316423032742944</c:v>
                </c:pt>
                <c:pt idx="568">
                  <c:v>1.5113009167485982</c:v>
                </c:pt>
                <c:pt idx="569">
                  <c:v>1.7033666847921978</c:v>
                </c:pt>
                <c:pt idx="570">
                  <c:v>1.5263475437381893</c:v>
                </c:pt>
                <c:pt idx="571">
                  <c:v>1.6006955829808727</c:v>
                </c:pt>
                <c:pt idx="572">
                  <c:v>1.4878458805589421</c:v>
                </c:pt>
                <c:pt idx="573">
                  <c:v>1.5745852596754062</c:v>
                </c:pt>
                <c:pt idx="574">
                  <c:v>1.5064328903696129</c:v>
                </c:pt>
                <c:pt idx="575">
                  <c:v>1.5334283093803494</c:v>
                </c:pt>
                <c:pt idx="576">
                  <c:v>1.3701281517580266</c:v>
                </c:pt>
                <c:pt idx="577">
                  <c:v>1.4382805210638197</c:v>
                </c:pt>
                <c:pt idx="578">
                  <c:v>1.4997946725800877</c:v>
                </c:pt>
                <c:pt idx="579">
                  <c:v>1.6352143154864045</c:v>
                </c:pt>
                <c:pt idx="580">
                  <c:v>1.6352143154864045</c:v>
                </c:pt>
                <c:pt idx="581">
                  <c:v>1.5498025799278452</c:v>
                </c:pt>
                <c:pt idx="582">
                  <c:v>1.5759129032333115</c:v>
                </c:pt>
                <c:pt idx="583">
                  <c:v>1.8331179986965542</c:v>
                </c:pt>
                <c:pt idx="584">
                  <c:v>1.5799371750335942</c:v>
                </c:pt>
                <c:pt idx="585">
                  <c:v>1.702529994912501</c:v>
                </c:pt>
                <c:pt idx="586">
                  <c:v>1.4551234707365908</c:v>
                </c:pt>
                <c:pt idx="587">
                  <c:v>1.3391933041119726</c:v>
                </c:pt>
                <c:pt idx="588">
                  <c:v>1.3365282428102572</c:v>
                </c:pt>
                <c:pt idx="589">
                  <c:v>1.2445836279010771</c:v>
                </c:pt>
                <c:pt idx="590">
                  <c:v>1.1970567013538196</c:v>
                </c:pt>
                <c:pt idx="591">
                  <c:v>1.2645715876639423</c:v>
                </c:pt>
                <c:pt idx="592">
                  <c:v>1.1823988641943852</c:v>
                </c:pt>
                <c:pt idx="593">
                  <c:v>1.2077169465606812</c:v>
                </c:pt>
                <c:pt idx="594">
                  <c:v>1.2077169465606812</c:v>
                </c:pt>
                <c:pt idx="595">
                  <c:v>1.2943314388664304</c:v>
                </c:pt>
                <c:pt idx="596">
                  <c:v>1.306768391607769</c:v>
                </c:pt>
                <c:pt idx="597">
                  <c:v>1.3924945301462799</c:v>
                </c:pt>
                <c:pt idx="598">
                  <c:v>1.4555676476202104</c:v>
                </c:pt>
                <c:pt idx="599">
                  <c:v>1.4027105984695221</c:v>
                </c:pt>
                <c:pt idx="600">
                  <c:v>1.2730109484527075</c:v>
                </c:pt>
                <c:pt idx="601">
                  <c:v>1.3192053443491072</c:v>
                </c:pt>
                <c:pt idx="602">
                  <c:v>1.3076567453750074</c:v>
                </c:pt>
                <c:pt idx="603">
                  <c:v>1.3311981202068264</c:v>
                </c:pt>
                <c:pt idx="604">
                  <c:v>1.3311981202068264</c:v>
                </c:pt>
                <c:pt idx="605">
                  <c:v>1.4542351169693528</c:v>
                </c:pt>
                <c:pt idx="606">
                  <c:v>1.4622303008744988</c:v>
                </c:pt>
                <c:pt idx="607">
                  <c:v>1.5532865620164404</c:v>
                </c:pt>
                <c:pt idx="608">
                  <c:v>1.5528423851328212</c:v>
                </c:pt>
                <c:pt idx="609">
                  <c:v>1.5146431731415677</c:v>
                </c:pt>
                <c:pt idx="610">
                  <c:v>1.5177524113269023</c:v>
                </c:pt>
                <c:pt idx="611">
                  <c:v>1.5630584534560634</c:v>
                </c:pt>
                <c:pt idx="612">
                  <c:v>1.4422423411116334</c:v>
                </c:pt>
                <c:pt idx="613">
                  <c:v>1.5164198806760445</c:v>
                </c:pt>
                <c:pt idx="614">
                  <c:v>1.4768881380339334</c:v>
                </c:pt>
                <c:pt idx="615">
                  <c:v>1.4262519733013412</c:v>
                </c:pt>
                <c:pt idx="616">
                  <c:v>1.6101412031197018</c:v>
                </c:pt>
                <c:pt idx="617">
                  <c:v>1.5985926041456018</c:v>
                </c:pt>
                <c:pt idx="618">
                  <c:v>1.4853274988226983</c:v>
                </c:pt>
                <c:pt idx="619">
                  <c:v>1.5404054323914831</c:v>
                </c:pt>
                <c:pt idx="620">
                  <c:v>1.4209218506979107</c:v>
                </c:pt>
                <c:pt idx="621">
                  <c:v>1.5710536373612094</c:v>
                </c:pt>
                <c:pt idx="622">
                  <c:v>1.6083644955852248</c:v>
                </c:pt>
                <c:pt idx="623">
                  <c:v>1.6096970262360826</c:v>
                </c:pt>
                <c:pt idx="624">
                  <c:v>1.6373730104175568</c:v>
                </c:pt>
                <c:pt idx="625">
                  <c:v>1.6548778205618235</c:v>
                </c:pt>
                <c:pt idx="626">
                  <c:v>1.7729230787141861</c:v>
                </c:pt>
                <c:pt idx="627">
                  <c:v>1.6566731857048256</c:v>
                </c:pt>
                <c:pt idx="628">
                  <c:v>1.6975177427081143</c:v>
                </c:pt>
                <c:pt idx="629">
                  <c:v>1.7805533805719431</c:v>
                </c:pt>
                <c:pt idx="630">
                  <c:v>1.7468902841406613</c:v>
                </c:pt>
                <c:pt idx="631">
                  <c:v>1.8335166522904935</c:v>
                </c:pt>
                <c:pt idx="632">
                  <c:v>1.8231933027182337</c:v>
                </c:pt>
                <c:pt idx="633">
                  <c:v>1.9578456884433617</c:v>
                </c:pt>
                <c:pt idx="634">
                  <c:v>1.8398004302909998</c:v>
                </c:pt>
                <c:pt idx="635">
                  <c:v>1.8353120174334951</c:v>
                </c:pt>
                <c:pt idx="636">
                  <c:v>1.7729230787141861</c:v>
                </c:pt>
                <c:pt idx="637">
                  <c:v>1.8061373338597178</c:v>
                </c:pt>
                <c:pt idx="638">
                  <c:v>1.7316296804251465</c:v>
                </c:pt>
                <c:pt idx="639">
                  <c:v>1.6665476939913351</c:v>
                </c:pt>
                <c:pt idx="640">
                  <c:v>1.7015573142798679</c:v>
                </c:pt>
                <c:pt idx="641">
                  <c:v>1.761253205284675</c:v>
                </c:pt>
                <c:pt idx="642">
                  <c:v>1.7617020465704254</c:v>
                </c:pt>
                <c:pt idx="643">
                  <c:v>1.7038015207086201</c:v>
                </c:pt>
                <c:pt idx="644">
                  <c:v>1.6832755548568703</c:v>
                </c:pt>
                <c:pt idx="645">
                  <c:v>1.6249064371904545</c:v>
                </c:pt>
                <c:pt idx="646">
                  <c:v>1.5871910073136937</c:v>
                </c:pt>
                <c:pt idx="647">
                  <c:v>1.3586534619890343</c:v>
                </c:pt>
                <c:pt idx="648">
                  <c:v>1.3519185637967557</c:v>
                </c:pt>
                <c:pt idx="649">
                  <c:v>1.3519185637967557</c:v>
                </c:pt>
                <c:pt idx="650">
                  <c:v>1.2818756225970567</c:v>
                </c:pt>
                <c:pt idx="651">
                  <c:v>1.3573064823505787</c:v>
                </c:pt>
                <c:pt idx="652">
                  <c:v>1.3263259506660963</c:v>
                </c:pt>
                <c:pt idx="653">
                  <c:v>1.378409163353052</c:v>
                </c:pt>
                <c:pt idx="654">
                  <c:v>1.3846950683325121</c:v>
                </c:pt>
                <c:pt idx="655">
                  <c:v>1.4390232470835607</c:v>
                </c:pt>
                <c:pt idx="656">
                  <c:v>1.4116346611016275</c:v>
                </c:pt>
                <c:pt idx="657">
                  <c:v>1.3501225909454813</c:v>
                </c:pt>
                <c:pt idx="658">
                  <c:v>1.3591024552018529</c:v>
                </c:pt>
                <c:pt idx="659">
                  <c:v>1.3142031339199947</c:v>
                </c:pt>
                <c:pt idx="660">
                  <c:v>1.3079172289405343</c:v>
                </c:pt>
                <c:pt idx="661">
                  <c:v>1.2176695931639991</c:v>
                </c:pt>
                <c:pt idx="662">
                  <c:v>1.2464051587843885</c:v>
                </c:pt>
                <c:pt idx="663">
                  <c:v>1.2989373646841627</c:v>
                </c:pt>
                <c:pt idx="664">
                  <c:v>1.3344078284968308</c:v>
                </c:pt>
                <c:pt idx="665">
                  <c:v>1.4740447176834104</c:v>
                </c:pt>
                <c:pt idx="666">
                  <c:v>1.4587789484475786</c:v>
                </c:pt>
                <c:pt idx="667">
                  <c:v>1.445309152063021</c:v>
                </c:pt>
                <c:pt idx="668">
                  <c:v>1.3142031339199947</c:v>
                </c:pt>
                <c:pt idx="669">
                  <c:v>1.2890595140021539</c:v>
                </c:pt>
                <c:pt idx="670">
                  <c:v>1.2872635411508795</c:v>
                </c:pt>
                <c:pt idx="671">
                  <c:v>1.2993863578969815</c:v>
                </c:pt>
                <c:pt idx="672">
                  <c:v>1.2275474438460079</c:v>
                </c:pt>
                <c:pt idx="673">
                  <c:v>1.3281219235173707</c:v>
                </c:pt>
                <c:pt idx="674">
                  <c:v>1.3833480886940563</c:v>
                </c:pt>
                <c:pt idx="675">
                  <c:v>1.3330608488583753</c:v>
                </c:pt>
                <c:pt idx="676">
                  <c:v>1.3730212447992292</c:v>
                </c:pt>
                <c:pt idx="677">
                  <c:v>1.3730212447992292</c:v>
                </c:pt>
                <c:pt idx="678">
                  <c:v>1.3882870140350609</c:v>
                </c:pt>
                <c:pt idx="679">
                  <c:v>1.5238829643062732</c:v>
                </c:pt>
                <c:pt idx="680">
                  <c:v>1.3842460751196937</c:v>
                </c:pt>
                <c:pt idx="681">
                  <c:v>1.3936749325888838</c:v>
                </c:pt>
                <c:pt idx="682">
                  <c:v>1.4313903624656448</c:v>
                </c:pt>
                <c:pt idx="683">
                  <c:v>1.390547844275094</c:v>
                </c:pt>
                <c:pt idx="684">
                  <c:v>1.3701851195785826</c:v>
                </c:pt>
                <c:pt idx="685">
                  <c:v>1.2606789112106773</c:v>
                </c:pt>
                <c:pt idx="686">
                  <c:v>1.1995907371211436</c:v>
                </c:pt>
                <c:pt idx="687">
                  <c:v>1.0774143889420758</c:v>
                </c:pt>
                <c:pt idx="688">
                  <c:v>1.0226612847581231</c:v>
                </c:pt>
                <c:pt idx="689">
                  <c:v>1.0335214045962624</c:v>
                </c:pt>
                <c:pt idx="690">
                  <c:v>0.99732100513579791</c:v>
                </c:pt>
                <c:pt idx="691">
                  <c:v>1.1747029624920742</c:v>
                </c:pt>
                <c:pt idx="692">
                  <c:v>1.3348897301046296</c:v>
                </c:pt>
                <c:pt idx="693">
                  <c:v>1.3072869255160255</c:v>
                </c:pt>
                <c:pt idx="694">
                  <c:v>1.3566099697809084</c:v>
                </c:pt>
                <c:pt idx="695">
                  <c:v>1.2516288113455614</c:v>
                </c:pt>
                <c:pt idx="696">
                  <c:v>1.1507201978495163</c:v>
                </c:pt>
                <c:pt idx="697">
                  <c:v>1.1167823233553309</c:v>
                </c:pt>
                <c:pt idx="698">
                  <c:v>1.1131622834092845</c:v>
                </c:pt>
                <c:pt idx="699">
                  <c:v>1.1321674931260284</c:v>
                </c:pt>
                <c:pt idx="700">
                  <c:v>1.2566063662713751</c:v>
                </c:pt>
                <c:pt idx="701">
                  <c:v>1.2566063662713751</c:v>
                </c:pt>
                <c:pt idx="702">
                  <c:v>1.2443887314534685</c:v>
                </c:pt>
                <c:pt idx="703">
                  <c:v>1.2140708969053293</c:v>
                </c:pt>
                <c:pt idx="704">
                  <c:v>1.1905406372560274</c:v>
                </c:pt>
                <c:pt idx="705">
                  <c:v>1.2353386315883523</c:v>
                </c:pt>
                <c:pt idx="706">
                  <c:v>1.2384392473735599</c:v>
                </c:pt>
                <c:pt idx="707">
                  <c:v>1.2429673616235548</c:v>
                </c:pt>
                <c:pt idx="708">
                  <c:v>1.1822906306736252</c:v>
                </c:pt>
                <c:pt idx="709">
                  <c:v>1.1533106994736591</c:v>
                </c:pt>
                <c:pt idx="710">
                  <c:v>1.2099121275985931</c:v>
                </c:pt>
                <c:pt idx="711">
                  <c:v>1.3086250182484782</c:v>
                </c:pt>
                <c:pt idx="712">
                  <c:v>1.3416802522734399</c:v>
                </c:pt>
                <c:pt idx="713">
                  <c:v>1.4236391201983447</c:v>
                </c:pt>
                <c:pt idx="714">
                  <c:v>1.4385818972233271</c:v>
                </c:pt>
                <c:pt idx="715">
                  <c:v>1.3751882977234011</c:v>
                </c:pt>
                <c:pt idx="716">
                  <c:v>1.2769282184985151</c:v>
                </c:pt>
                <c:pt idx="717">
                  <c:v>1.3140587553484719</c:v>
                </c:pt>
                <c:pt idx="718">
                  <c:v>1.2271189617485734</c:v>
                </c:pt>
                <c:pt idx="719">
                  <c:v>1.2148930532735873</c:v>
                </c:pt>
                <c:pt idx="720">
                  <c:v>1.2234964703485773</c:v>
                </c:pt>
                <c:pt idx="721">
                  <c:v>1.211723373298591</c:v>
                </c:pt>
                <c:pt idx="722">
                  <c:v>1.2049312019235989</c:v>
                </c:pt>
                <c:pt idx="723">
                  <c:v>1.2049312019235989</c:v>
                </c:pt>
                <c:pt idx="724">
                  <c:v>1.1564803794486553</c:v>
                </c:pt>
                <c:pt idx="725">
                  <c:v>1.1555747565986563</c:v>
                </c:pt>
                <c:pt idx="726">
                  <c:v>1.2289302074485711</c:v>
                </c:pt>
                <c:pt idx="727">
                  <c:v>1.2379864359485604</c:v>
                </c:pt>
                <c:pt idx="728">
                  <c:v>1.1736872135986354</c:v>
                </c:pt>
                <c:pt idx="729">
                  <c:v>1.1736872135986354</c:v>
                </c:pt>
                <c:pt idx="730">
                  <c:v>1.0831249285987405</c:v>
                </c:pt>
                <c:pt idx="731">
                  <c:v>1.101690197023719</c:v>
                </c:pt>
                <c:pt idx="732">
                  <c:v>1.1985918419736064</c:v>
                </c:pt>
                <c:pt idx="733">
                  <c:v>1.2479482872985488</c:v>
                </c:pt>
                <c:pt idx="734">
                  <c:v>1.3040969039984835</c:v>
                </c:pt>
                <c:pt idx="735">
                  <c:v>1.3357937037484469</c:v>
                </c:pt>
                <c:pt idx="736">
                  <c:v>1.3249262295484594</c:v>
                </c:pt>
                <c:pt idx="737">
                  <c:v>1.3249262295484594</c:v>
                </c:pt>
                <c:pt idx="738">
                  <c:v>1.3335296466234494</c:v>
                </c:pt>
                <c:pt idx="739">
                  <c:v>1.303644092573484</c:v>
                </c:pt>
                <c:pt idx="740">
                  <c:v>1.2407033044985571</c:v>
                </c:pt>
                <c:pt idx="741">
                  <c:v>1.2873428812735033</c:v>
                </c:pt>
                <c:pt idx="742">
                  <c:v>1.4159413259733535</c:v>
                </c:pt>
                <c:pt idx="743">
                  <c:v>1.4726497720001481</c:v>
                </c:pt>
                <c:pt idx="744">
                  <c:v>1.5261923522748584</c:v>
                </c:pt>
                <c:pt idx="745">
                  <c:v>1.7060405065309361</c:v>
                </c:pt>
                <c:pt idx="746">
                  <c:v>1.5435822501418579</c:v>
                </c:pt>
                <c:pt idx="747">
                  <c:v>1.5019380210393056</c:v>
                </c:pt>
                <c:pt idx="748">
                  <c:v>1.5325991567521742</c:v>
                </c:pt>
                <c:pt idx="749">
                  <c:v>1.4904972987583849</c:v>
                </c:pt>
                <c:pt idx="750">
                  <c:v>1.4323784295713062</c:v>
                </c:pt>
                <c:pt idx="751">
                  <c:v>1.3843273959914382</c:v>
                </c:pt>
                <c:pt idx="752">
                  <c:v>1.4168190472692537</c:v>
                </c:pt>
                <c:pt idx="753">
                  <c:v>1.5330567856434107</c:v>
                </c:pt>
                <c:pt idx="754">
                  <c:v>1.5971248304165684</c:v>
                </c:pt>
                <c:pt idx="755">
                  <c:v>1.4840904942810691</c:v>
                </c:pt>
                <c:pt idx="756">
                  <c:v>1.4044630672058591</c:v>
                </c:pt>
                <c:pt idx="757">
                  <c:v>1.4044630672058591</c:v>
                </c:pt>
                <c:pt idx="758">
                  <c:v>1.3925647160337011</c:v>
                </c:pt>
                <c:pt idx="759">
                  <c:v>1.4072088405532801</c:v>
                </c:pt>
                <c:pt idx="760">
                  <c:v>1.373344302601754</c:v>
                </c:pt>
                <c:pt idx="761">
                  <c:v>1.2982931644389124</c:v>
                </c:pt>
                <c:pt idx="762">
                  <c:v>1.3152254334146753</c:v>
                </c:pt>
                <c:pt idx="763">
                  <c:v>1.3362763624115701</c:v>
                </c:pt>
                <c:pt idx="764">
                  <c:v>1.3220898667832282</c:v>
                </c:pt>
                <c:pt idx="765">
                  <c:v>1.3440560535625963</c:v>
                </c:pt>
                <c:pt idx="766">
                  <c:v>1.4483954407645958</c:v>
                </c:pt>
                <c:pt idx="767">
                  <c:v>1.4854633809547797</c:v>
                </c:pt>
                <c:pt idx="768">
                  <c:v>1.4607514208279904</c:v>
                </c:pt>
                <c:pt idx="769">
                  <c:v>1.4383276051573852</c:v>
                </c:pt>
                <c:pt idx="770">
                  <c:v>1.3605306936471224</c:v>
                </c:pt>
                <c:pt idx="771">
                  <c:v>1.2781574932244915</c:v>
                </c:pt>
                <c:pt idx="772">
                  <c:v>1.3385645068677543</c:v>
                </c:pt>
                <c:pt idx="773">
                  <c:v>1.3307848157167279</c:v>
                </c:pt>
                <c:pt idx="774">
                  <c:v>1.3587001780821752</c:v>
                </c:pt>
                <c:pt idx="775">
                  <c:v>1.4245987384202801</c:v>
                </c:pt>
                <c:pt idx="776">
                  <c:v>1.3609883225383594</c:v>
                </c:pt>
                <c:pt idx="777">
                  <c:v>1.3445136824538331</c:v>
                </c:pt>
                <c:pt idx="778">
                  <c:v>1.3879884271213327</c:v>
                </c:pt>
                <c:pt idx="779">
                  <c:v>1.2974983499972892</c:v>
                </c:pt>
                <c:pt idx="780">
                  <c:v>1.3652540364802739</c:v>
                </c:pt>
                <c:pt idx="781">
                  <c:v>1.2956546578480923</c:v>
                </c:pt>
                <c:pt idx="782">
                  <c:v>1.2859752740648087</c:v>
                </c:pt>
                <c:pt idx="783">
                  <c:v>1.2560152766403598</c:v>
                </c:pt>
                <c:pt idx="784">
                  <c:v>1.2799832745799189</c:v>
                </c:pt>
                <c:pt idx="785">
                  <c:v>1.2845925049529112</c:v>
                </c:pt>
                <c:pt idx="786">
                  <c:v>1.3500435762493996</c:v>
                </c:pt>
                <c:pt idx="787">
                  <c:v>1.3385205003169192</c:v>
                </c:pt>
                <c:pt idx="788">
                  <c:v>1.3210054248995489</c:v>
                </c:pt>
                <c:pt idx="789">
                  <c:v>1.228359894402407</c:v>
                </c:pt>
                <c:pt idx="790">
                  <c:v>1.228359894402407</c:v>
                </c:pt>
                <c:pt idx="791">
                  <c:v>1.2804441976172183</c:v>
                </c:pt>
                <c:pt idx="792">
                  <c:v>1.2620072761252494</c:v>
                </c:pt>
                <c:pt idx="793">
                  <c:v>1.2546325075284621</c:v>
                </c:pt>
                <c:pt idx="794">
                  <c:v>1.2666165064982418</c:v>
                </c:pt>
                <c:pt idx="795">
                  <c:v>1.2315863556635014</c:v>
                </c:pt>
                <c:pt idx="796">
                  <c:v>1.2822878897664149</c:v>
                </c:pt>
                <c:pt idx="797">
                  <c:v>1.3085605028924705</c:v>
                </c:pt>
                <c:pt idx="798">
                  <c:v>1.329302039570935</c:v>
                </c:pt>
                <c:pt idx="799">
                  <c:v>1.2790614285053206</c:v>
                </c:pt>
                <c:pt idx="800">
                  <c:v>1.3246928091979426</c:v>
                </c:pt>
                <c:pt idx="801">
                  <c:v>1.2615463530879505</c:v>
                </c:pt>
                <c:pt idx="802">
                  <c:v>1.2255943561786118</c:v>
                </c:pt>
                <c:pt idx="803">
                  <c:v>1.2670774295355407</c:v>
                </c:pt>
                <c:pt idx="804">
                  <c:v>1.3214663479368485</c:v>
                </c:pt>
                <c:pt idx="805">
                  <c:v>1.2357346629991943</c:v>
                </c:pt>
                <c:pt idx="806">
                  <c:v>1.3211162153538056</c:v>
                </c:pt>
                <c:pt idx="807">
                  <c:v>1.3428041168982097</c:v>
                </c:pt>
                <c:pt idx="808">
                  <c:v>1.3700293550071423</c:v>
                </c:pt>
                <c:pt idx="809">
                  <c:v>1.4134051580959504</c:v>
                </c:pt>
                <c:pt idx="810">
                  <c:v>1.4623182977492872</c:v>
                </c:pt>
                <c:pt idx="811">
                  <c:v>1.4858519781485344</c:v>
                </c:pt>
                <c:pt idx="812">
                  <c:v>1.4387846173500403</c:v>
                </c:pt>
                <c:pt idx="813">
                  <c:v>1.4369388384951973</c:v>
                </c:pt>
                <c:pt idx="814">
                  <c:v>1.4254027206524293</c:v>
                </c:pt>
                <c:pt idx="815">
                  <c:v>1.4743158603057662</c:v>
                </c:pt>
                <c:pt idx="816">
                  <c:v>1.5066169902655169</c:v>
                </c:pt>
                <c:pt idx="817">
                  <c:v>1.5103085479752025</c:v>
                </c:pt>
                <c:pt idx="818">
                  <c:v>1.519998886963128</c:v>
                </c:pt>
                <c:pt idx="819">
                  <c:v>1.5112314374026241</c:v>
                </c:pt>
                <c:pt idx="820">
                  <c:v>1.5130772162574671</c:v>
                </c:pt>
                <c:pt idx="821">
                  <c:v>1.5107699926889135</c:v>
                </c:pt>
                <c:pt idx="822">
                  <c:v>1.5218446658179705</c:v>
                </c:pt>
                <c:pt idx="823">
                  <c:v>1.5218446658179705</c:v>
                </c:pt>
                <c:pt idx="824">
                  <c:v>1.5550686852051432</c:v>
                </c:pt>
                <c:pt idx="825">
                  <c:v>1.5846011468826295</c:v>
                </c:pt>
                <c:pt idx="826">
                  <c:v>1.6081348272818763</c:v>
                </c:pt>
                <c:pt idx="827">
                  <c:v>1.603063180735915</c:v>
                </c:pt>
                <c:pt idx="828">
                  <c:v>1.5952050278891701</c:v>
                </c:pt>
                <c:pt idx="829">
                  <c:v>1.6405049678292278</c:v>
                </c:pt>
                <c:pt idx="830">
                  <c:v>1.6072233793018385</c:v>
                </c:pt>
                <c:pt idx="831">
                  <c:v>1.1916657669945758</c:v>
                </c:pt>
                <c:pt idx="832">
                  <c:v>1.2304942869431965</c:v>
                </c:pt>
                <c:pt idx="833">
                  <c:v>1.236041218364428</c:v>
                </c:pt>
                <c:pt idx="834">
                  <c:v>1.3663941067633691</c:v>
                </c:pt>
                <c:pt idx="835">
                  <c:v>1.3377349610870064</c:v>
                </c:pt>
                <c:pt idx="836">
                  <c:v>1.3821104124568586</c:v>
                </c:pt>
                <c:pt idx="837">
                  <c:v>1.3201696782531063</c:v>
                </c:pt>
                <c:pt idx="838">
                  <c:v>1.3201696782531063</c:v>
                </c:pt>
                <c:pt idx="839">
                  <c:v>1.2771809597385619</c:v>
                </c:pt>
                <c:pt idx="840">
                  <c:v>1.2221738898113492</c:v>
                </c:pt>
                <c:pt idx="841">
                  <c:v>1.1579219341820841</c:v>
                </c:pt>
                <c:pt idx="842">
                  <c:v>1.1875055684286522</c:v>
                </c:pt>
                <c:pt idx="843">
                  <c:v>1.1921280112796782</c:v>
                </c:pt>
                <c:pt idx="844">
                  <c:v>1.1810341484372153</c:v>
                </c:pt>
                <c:pt idx="845">
                  <c:v>1.2101555383986808</c:v>
                </c:pt>
                <c:pt idx="846">
                  <c:v>1.2092310498284755</c:v>
                </c:pt>
                <c:pt idx="847">
                  <c:v>1.2092310498284755</c:v>
                </c:pt>
                <c:pt idx="848">
                  <c:v>1.2189381798156307</c:v>
                </c:pt>
                <c:pt idx="849">
                  <c:v>1.1708647741649574</c:v>
                </c:pt>
                <c:pt idx="850">
                  <c:v>1.1773361941563942</c:v>
                </c:pt>
                <c:pt idx="851">
                  <c:v>1.2180136912454256</c:v>
                </c:pt>
                <c:pt idx="852">
                  <c:v>1.2762564711683566</c:v>
                </c:pt>
                <c:pt idx="853">
                  <c:v>1.3183207011126958</c:v>
                </c:pt>
                <c:pt idx="854">
                  <c:v>1.3224808996786195</c:v>
                </c:pt>
                <c:pt idx="855">
                  <c:v>1.2841146240151013</c:v>
                </c:pt>
                <c:pt idx="856">
                  <c:v>1.3326502739508774</c:v>
                </c:pt>
                <c:pt idx="857">
                  <c:v>1.3553002439209061</c:v>
                </c:pt>
                <c:pt idx="858">
                  <c:v>1.3548379996358033</c:v>
                </c:pt>
                <c:pt idx="859">
                  <c:v>1.2841146240151013</c:v>
                </c:pt>
                <c:pt idx="860">
                  <c:v>1.2831901354448962</c:v>
                </c:pt>
                <c:pt idx="861">
                  <c:v>1.2887370668661275</c:v>
                </c:pt>
                <c:pt idx="862">
                  <c:v>1.320631922538209</c:v>
                </c:pt>
                <c:pt idx="863">
                  <c:v>1.3405084267976222</c:v>
                </c:pt>
                <c:pt idx="864">
                  <c:v>1.3178584568275933</c:v>
                </c:pt>
                <c:pt idx="865">
                  <c:v>1.3525267782102903</c:v>
                </c:pt>
                <c:pt idx="866">
                  <c:v>1.3812742706704355</c:v>
                </c:pt>
                <c:pt idx="867">
                  <c:v>1.3612152387086562</c:v>
                </c:pt>
                <c:pt idx="868">
                  <c:v>1.3052365448618302</c:v>
                </c:pt>
                <c:pt idx="869">
                  <c:v>1.3290274897467311</c:v>
                </c:pt>
                <c:pt idx="870">
                  <c:v>1.3640141734009974</c:v>
                </c:pt>
                <c:pt idx="871">
                  <c:v>1.397134900593703</c:v>
                </c:pt>
                <c:pt idx="872">
                  <c:v>1.345821097900779</c:v>
                </c:pt>
                <c:pt idx="873">
                  <c:v>1.3210971747850975</c:v>
                </c:pt>
                <c:pt idx="874">
                  <c:v>1.3052365448618302</c:v>
                </c:pt>
                <c:pt idx="875">
                  <c:v>1.360748749593266</c:v>
                </c:pt>
                <c:pt idx="876">
                  <c:v>1.3724109774780215</c:v>
                </c:pt>
                <c:pt idx="877">
                  <c:v>1.3252955768236094</c:v>
                </c:pt>
                <c:pt idx="878">
                  <c:v>1.3248290877082192</c:v>
                </c:pt>
                <c:pt idx="879">
                  <c:v>1.2786466652845876</c:v>
                </c:pt>
                <c:pt idx="880">
                  <c:v>1.2945072952078549</c:v>
                </c:pt>
                <c:pt idx="881">
                  <c:v>1.3113009033619027</c:v>
                </c:pt>
                <c:pt idx="882">
                  <c:v>1.3089684577849516</c:v>
                </c:pt>
                <c:pt idx="883">
                  <c:v>1.3444216305546084</c:v>
                </c:pt>
                <c:pt idx="884">
                  <c:v>1.3210971747850975</c:v>
                </c:pt>
                <c:pt idx="885">
                  <c:v>1.3512377393741242</c:v>
                </c:pt>
                <c:pt idx="886">
                  <c:v>1.3134049509574965</c:v>
                </c:pt>
                <c:pt idx="887">
                  <c:v>1.3400280242877161</c:v>
                </c:pt>
                <c:pt idx="888">
                  <c:v>1.3610462400747314</c:v>
                </c:pt>
                <c:pt idx="889">
                  <c:v>1.3619803829985986</c:v>
                </c:pt>
                <c:pt idx="890">
                  <c:v>1.2914525922466138</c:v>
                </c:pt>
                <c:pt idx="891">
                  <c:v>1.2914525922466138</c:v>
                </c:pt>
                <c:pt idx="892">
                  <c:v>1.2993928070994862</c:v>
                </c:pt>
                <c:pt idx="893">
                  <c:v>1.255021018215787</c:v>
                </c:pt>
                <c:pt idx="894">
                  <c:v>1.2195235871088275</c:v>
                </c:pt>
                <c:pt idx="895">
                  <c:v>1.2101821578701539</c:v>
                </c:pt>
                <c:pt idx="896">
                  <c:v>1.2218589444184957</c:v>
                </c:pt>
                <c:pt idx="897">
                  <c:v>1.2036431574030828</c:v>
                </c:pt>
                <c:pt idx="898">
                  <c:v>1.190098085007006</c:v>
                </c:pt>
                <c:pt idx="899">
                  <c:v>1.175618869687062</c:v>
                </c:pt>
                <c:pt idx="900">
                  <c:v>1.1718822979915928</c:v>
                </c:pt>
                <c:pt idx="901">
                  <c:v>1.1639420831387202</c:v>
                </c:pt>
                <c:pt idx="902">
                  <c:v>1.1531994395142457</c:v>
                </c:pt>
                <c:pt idx="903">
                  <c:v>1.1163007940214853</c:v>
                </c:pt>
                <c:pt idx="904">
                  <c:v>1.0864082204577301</c:v>
                </c:pt>
                <c:pt idx="905">
                  <c:v>1.0742643624474544</c:v>
                </c:pt>
                <c:pt idx="906">
                  <c:v>1.0695936478281178</c:v>
                </c:pt>
                <c:pt idx="907">
                  <c:v>1.0504437178888368</c:v>
                </c:pt>
                <c:pt idx="908">
                  <c:v>1.0579168612797756</c:v>
                </c:pt>
                <c:pt idx="909">
                  <c:v>1.0630546473610463</c:v>
                </c:pt>
                <c:pt idx="910">
                  <c:v>1.0182157870154134</c:v>
                </c:pt>
                <c:pt idx="911">
                  <c:v>1.037599252685661</c:v>
                </c:pt>
                <c:pt idx="912">
                  <c:v>1.0504437178888368</c:v>
                </c:pt>
                <c:pt idx="913">
                  <c:v>1.0023353573096683</c:v>
                </c:pt>
                <c:pt idx="914">
                  <c:v>0.99486221391872953</c:v>
                </c:pt>
                <c:pt idx="915">
                  <c:v>1.0266230733302195</c:v>
                </c:pt>
                <c:pt idx="916">
                  <c:v>1.0177487155534797</c:v>
                </c:pt>
                <c:pt idx="917">
                  <c:v>0.98458664175618871</c:v>
                </c:pt>
                <c:pt idx="918">
                  <c:v>0.97571228397944876</c:v>
                </c:pt>
                <c:pt idx="919">
                  <c:v>0.94488556749182628</c:v>
                </c:pt>
                <c:pt idx="920">
                  <c:v>0.95189163942083133</c:v>
                </c:pt>
                <c:pt idx="921">
                  <c:v>1</c:v>
                </c:pt>
              </c:numCache>
            </c:numRef>
          </c:val>
          <c:smooth val="0"/>
          <c:extLst>
            <c:ext xmlns:c16="http://schemas.microsoft.com/office/drawing/2014/chart" uri="{C3380CC4-5D6E-409C-BE32-E72D297353CC}">
              <c16:uniqueId val="{00000005-B9B2-4D69-9144-C8D4670E5D4F}"/>
            </c:ext>
          </c:extLst>
        </c:ser>
        <c:ser>
          <c:idx val="6"/>
          <c:order val="6"/>
          <c:tx>
            <c:strRef>
              <c:f>Sheet3!$X$1</c:f>
              <c:strCache>
                <c:ptCount val="1"/>
                <c:pt idx="0">
                  <c:v>NASDOQ</c:v>
                </c:pt>
              </c:strCache>
            </c:strRef>
          </c:tx>
          <c:spPr>
            <a:ln w="28575" cap="rnd">
              <a:solidFill>
                <a:srgbClr val="FF0000"/>
              </a:solidFill>
              <a:round/>
            </a:ln>
            <a:effectLst/>
          </c:spPr>
          <c:marker>
            <c:symbol val="none"/>
          </c:marker>
          <c:cat>
            <c:numRef>
              <c:f>Sheet3!$Q$2:$Q$1410</c:f>
              <c:numCache>
                <c:formatCode>m/d/yyyy</c:formatCode>
                <c:ptCount val="1409"/>
                <c:pt idx="0">
                  <c:v>43832</c:v>
                </c:pt>
                <c:pt idx="1">
                  <c:v>43833</c:v>
                </c:pt>
                <c:pt idx="2">
                  <c:v>43836</c:v>
                </c:pt>
                <c:pt idx="3">
                  <c:v>43837</c:v>
                </c:pt>
                <c:pt idx="4">
                  <c:v>43838</c:v>
                </c:pt>
                <c:pt idx="5">
                  <c:v>43839</c:v>
                </c:pt>
                <c:pt idx="6">
                  <c:v>43840</c:v>
                </c:pt>
                <c:pt idx="7">
                  <c:v>43843</c:v>
                </c:pt>
                <c:pt idx="8">
                  <c:v>43844</c:v>
                </c:pt>
                <c:pt idx="9">
                  <c:v>43845</c:v>
                </c:pt>
                <c:pt idx="10">
                  <c:v>43846</c:v>
                </c:pt>
                <c:pt idx="11">
                  <c:v>43847</c:v>
                </c:pt>
                <c:pt idx="12">
                  <c:v>43850</c:v>
                </c:pt>
                <c:pt idx="13">
                  <c:v>43851</c:v>
                </c:pt>
                <c:pt idx="14">
                  <c:v>43852</c:v>
                </c:pt>
                <c:pt idx="15">
                  <c:v>43853</c:v>
                </c:pt>
                <c:pt idx="16">
                  <c:v>43864</c:v>
                </c:pt>
                <c:pt idx="17">
                  <c:v>43865</c:v>
                </c:pt>
                <c:pt idx="18">
                  <c:v>43866</c:v>
                </c:pt>
                <c:pt idx="19">
                  <c:v>43867</c:v>
                </c:pt>
                <c:pt idx="20">
                  <c:v>43868</c:v>
                </c:pt>
                <c:pt idx="21">
                  <c:v>43871</c:v>
                </c:pt>
                <c:pt idx="22">
                  <c:v>43872</c:v>
                </c:pt>
                <c:pt idx="23">
                  <c:v>43873</c:v>
                </c:pt>
                <c:pt idx="24">
                  <c:v>43874</c:v>
                </c:pt>
                <c:pt idx="25">
                  <c:v>43875</c:v>
                </c:pt>
                <c:pt idx="26">
                  <c:v>43878</c:v>
                </c:pt>
                <c:pt idx="27">
                  <c:v>43879</c:v>
                </c:pt>
                <c:pt idx="28">
                  <c:v>43880</c:v>
                </c:pt>
                <c:pt idx="29">
                  <c:v>43881</c:v>
                </c:pt>
                <c:pt idx="30">
                  <c:v>43882</c:v>
                </c:pt>
                <c:pt idx="31">
                  <c:v>43885</c:v>
                </c:pt>
                <c:pt idx="32">
                  <c:v>43886</c:v>
                </c:pt>
                <c:pt idx="33">
                  <c:v>43887</c:v>
                </c:pt>
                <c:pt idx="34">
                  <c:v>43888</c:v>
                </c:pt>
                <c:pt idx="35">
                  <c:v>43889</c:v>
                </c:pt>
                <c:pt idx="36">
                  <c:v>43892</c:v>
                </c:pt>
                <c:pt idx="37">
                  <c:v>43893</c:v>
                </c:pt>
                <c:pt idx="38">
                  <c:v>43894</c:v>
                </c:pt>
                <c:pt idx="39">
                  <c:v>43895</c:v>
                </c:pt>
                <c:pt idx="40">
                  <c:v>43896</c:v>
                </c:pt>
                <c:pt idx="41">
                  <c:v>43899</c:v>
                </c:pt>
                <c:pt idx="42">
                  <c:v>43900</c:v>
                </c:pt>
                <c:pt idx="43">
                  <c:v>43901</c:v>
                </c:pt>
                <c:pt idx="44">
                  <c:v>43902</c:v>
                </c:pt>
                <c:pt idx="45">
                  <c:v>43903</c:v>
                </c:pt>
                <c:pt idx="46">
                  <c:v>43906</c:v>
                </c:pt>
                <c:pt idx="47">
                  <c:v>43907</c:v>
                </c:pt>
                <c:pt idx="48">
                  <c:v>43908</c:v>
                </c:pt>
                <c:pt idx="49">
                  <c:v>43909</c:v>
                </c:pt>
                <c:pt idx="50">
                  <c:v>43910</c:v>
                </c:pt>
                <c:pt idx="51">
                  <c:v>43913</c:v>
                </c:pt>
                <c:pt idx="52">
                  <c:v>43914</c:v>
                </c:pt>
                <c:pt idx="53">
                  <c:v>43915</c:v>
                </c:pt>
                <c:pt idx="54">
                  <c:v>43916</c:v>
                </c:pt>
                <c:pt idx="55">
                  <c:v>43917</c:v>
                </c:pt>
                <c:pt idx="56">
                  <c:v>43920</c:v>
                </c:pt>
                <c:pt idx="57">
                  <c:v>43921</c:v>
                </c:pt>
                <c:pt idx="58">
                  <c:v>43922</c:v>
                </c:pt>
                <c:pt idx="59">
                  <c:v>43923</c:v>
                </c:pt>
                <c:pt idx="60">
                  <c:v>43924</c:v>
                </c:pt>
                <c:pt idx="61">
                  <c:v>43928</c:v>
                </c:pt>
                <c:pt idx="62">
                  <c:v>43929</c:v>
                </c:pt>
                <c:pt idx="63">
                  <c:v>43930</c:v>
                </c:pt>
                <c:pt idx="64">
                  <c:v>43931</c:v>
                </c:pt>
                <c:pt idx="65">
                  <c:v>43934</c:v>
                </c:pt>
                <c:pt idx="66">
                  <c:v>43935</c:v>
                </c:pt>
                <c:pt idx="67">
                  <c:v>43936</c:v>
                </c:pt>
                <c:pt idx="68">
                  <c:v>43937</c:v>
                </c:pt>
                <c:pt idx="69">
                  <c:v>43938</c:v>
                </c:pt>
                <c:pt idx="70">
                  <c:v>43941</c:v>
                </c:pt>
                <c:pt idx="71">
                  <c:v>43942</c:v>
                </c:pt>
                <c:pt idx="72">
                  <c:v>43943</c:v>
                </c:pt>
                <c:pt idx="73">
                  <c:v>43944</c:v>
                </c:pt>
                <c:pt idx="74">
                  <c:v>43945</c:v>
                </c:pt>
                <c:pt idx="75">
                  <c:v>43948</c:v>
                </c:pt>
                <c:pt idx="76">
                  <c:v>43949</c:v>
                </c:pt>
                <c:pt idx="77">
                  <c:v>43950</c:v>
                </c:pt>
                <c:pt idx="78">
                  <c:v>43951</c:v>
                </c:pt>
                <c:pt idx="79">
                  <c:v>43957</c:v>
                </c:pt>
                <c:pt idx="80">
                  <c:v>43958</c:v>
                </c:pt>
                <c:pt idx="81">
                  <c:v>43959</c:v>
                </c:pt>
                <c:pt idx="82">
                  <c:v>43962</c:v>
                </c:pt>
                <c:pt idx="83">
                  <c:v>43963</c:v>
                </c:pt>
                <c:pt idx="84">
                  <c:v>43964</c:v>
                </c:pt>
                <c:pt idx="85">
                  <c:v>43965</c:v>
                </c:pt>
                <c:pt idx="86">
                  <c:v>43966</c:v>
                </c:pt>
                <c:pt idx="87">
                  <c:v>43969</c:v>
                </c:pt>
                <c:pt idx="88">
                  <c:v>43970</c:v>
                </c:pt>
                <c:pt idx="89">
                  <c:v>43971</c:v>
                </c:pt>
                <c:pt idx="90">
                  <c:v>43972</c:v>
                </c:pt>
                <c:pt idx="91">
                  <c:v>43973</c:v>
                </c:pt>
                <c:pt idx="92">
                  <c:v>43976</c:v>
                </c:pt>
                <c:pt idx="93">
                  <c:v>43977</c:v>
                </c:pt>
                <c:pt idx="94">
                  <c:v>43978</c:v>
                </c:pt>
                <c:pt idx="95">
                  <c:v>43979</c:v>
                </c:pt>
                <c:pt idx="96">
                  <c:v>43980</c:v>
                </c:pt>
                <c:pt idx="97">
                  <c:v>43983</c:v>
                </c:pt>
                <c:pt idx="98">
                  <c:v>43984</c:v>
                </c:pt>
                <c:pt idx="99">
                  <c:v>43985</c:v>
                </c:pt>
                <c:pt idx="100">
                  <c:v>43986</c:v>
                </c:pt>
                <c:pt idx="101">
                  <c:v>43987</c:v>
                </c:pt>
                <c:pt idx="102">
                  <c:v>43990</c:v>
                </c:pt>
                <c:pt idx="103">
                  <c:v>43991</c:v>
                </c:pt>
                <c:pt idx="104">
                  <c:v>43992</c:v>
                </c:pt>
                <c:pt idx="105">
                  <c:v>43993</c:v>
                </c:pt>
                <c:pt idx="106">
                  <c:v>43994</c:v>
                </c:pt>
                <c:pt idx="107">
                  <c:v>43997</c:v>
                </c:pt>
                <c:pt idx="108">
                  <c:v>43998</c:v>
                </c:pt>
                <c:pt idx="109">
                  <c:v>43999</c:v>
                </c:pt>
                <c:pt idx="110">
                  <c:v>44000</c:v>
                </c:pt>
                <c:pt idx="111">
                  <c:v>44001</c:v>
                </c:pt>
                <c:pt idx="112">
                  <c:v>44004</c:v>
                </c:pt>
                <c:pt idx="113">
                  <c:v>44005</c:v>
                </c:pt>
                <c:pt idx="114">
                  <c:v>44006</c:v>
                </c:pt>
                <c:pt idx="115">
                  <c:v>44011</c:v>
                </c:pt>
                <c:pt idx="116">
                  <c:v>44012</c:v>
                </c:pt>
                <c:pt idx="117">
                  <c:v>44013</c:v>
                </c:pt>
                <c:pt idx="118">
                  <c:v>44014</c:v>
                </c:pt>
                <c:pt idx="119">
                  <c:v>44015</c:v>
                </c:pt>
                <c:pt idx="120">
                  <c:v>44018</c:v>
                </c:pt>
                <c:pt idx="121">
                  <c:v>44019</c:v>
                </c:pt>
                <c:pt idx="122">
                  <c:v>44020</c:v>
                </c:pt>
                <c:pt idx="123">
                  <c:v>44021</c:v>
                </c:pt>
                <c:pt idx="124">
                  <c:v>44022</c:v>
                </c:pt>
                <c:pt idx="125">
                  <c:v>44025</c:v>
                </c:pt>
                <c:pt idx="126">
                  <c:v>44026</c:v>
                </c:pt>
                <c:pt idx="127">
                  <c:v>44027</c:v>
                </c:pt>
                <c:pt idx="128">
                  <c:v>44028</c:v>
                </c:pt>
                <c:pt idx="129">
                  <c:v>44029</c:v>
                </c:pt>
                <c:pt idx="130">
                  <c:v>44032</c:v>
                </c:pt>
                <c:pt idx="131">
                  <c:v>44033</c:v>
                </c:pt>
                <c:pt idx="132">
                  <c:v>44034</c:v>
                </c:pt>
                <c:pt idx="133">
                  <c:v>44035</c:v>
                </c:pt>
                <c:pt idx="134">
                  <c:v>44036</c:v>
                </c:pt>
                <c:pt idx="135">
                  <c:v>44039</c:v>
                </c:pt>
                <c:pt idx="136">
                  <c:v>44040</c:v>
                </c:pt>
                <c:pt idx="137">
                  <c:v>44041</c:v>
                </c:pt>
                <c:pt idx="138">
                  <c:v>44042</c:v>
                </c:pt>
                <c:pt idx="139">
                  <c:v>44043</c:v>
                </c:pt>
                <c:pt idx="140">
                  <c:v>44046</c:v>
                </c:pt>
                <c:pt idx="141">
                  <c:v>44047</c:v>
                </c:pt>
                <c:pt idx="142">
                  <c:v>44048</c:v>
                </c:pt>
                <c:pt idx="143">
                  <c:v>44049</c:v>
                </c:pt>
                <c:pt idx="144">
                  <c:v>44050</c:v>
                </c:pt>
                <c:pt idx="145">
                  <c:v>44053</c:v>
                </c:pt>
                <c:pt idx="146">
                  <c:v>44054</c:v>
                </c:pt>
                <c:pt idx="147">
                  <c:v>44055</c:v>
                </c:pt>
                <c:pt idx="148">
                  <c:v>44056</c:v>
                </c:pt>
                <c:pt idx="149">
                  <c:v>44057</c:v>
                </c:pt>
                <c:pt idx="150">
                  <c:v>44060</c:v>
                </c:pt>
                <c:pt idx="151">
                  <c:v>44061</c:v>
                </c:pt>
                <c:pt idx="152">
                  <c:v>44062</c:v>
                </c:pt>
                <c:pt idx="153">
                  <c:v>44063</c:v>
                </c:pt>
                <c:pt idx="154">
                  <c:v>44064</c:v>
                </c:pt>
                <c:pt idx="155">
                  <c:v>44067</c:v>
                </c:pt>
                <c:pt idx="156">
                  <c:v>44068</c:v>
                </c:pt>
                <c:pt idx="157">
                  <c:v>44069</c:v>
                </c:pt>
                <c:pt idx="158">
                  <c:v>44070</c:v>
                </c:pt>
                <c:pt idx="159">
                  <c:v>44071</c:v>
                </c:pt>
                <c:pt idx="160">
                  <c:v>44074</c:v>
                </c:pt>
                <c:pt idx="161">
                  <c:v>44075</c:v>
                </c:pt>
                <c:pt idx="162">
                  <c:v>44076</c:v>
                </c:pt>
                <c:pt idx="163">
                  <c:v>44077</c:v>
                </c:pt>
                <c:pt idx="164">
                  <c:v>44078</c:v>
                </c:pt>
                <c:pt idx="165">
                  <c:v>44081</c:v>
                </c:pt>
                <c:pt idx="166">
                  <c:v>44082</c:v>
                </c:pt>
                <c:pt idx="167">
                  <c:v>44083</c:v>
                </c:pt>
                <c:pt idx="168">
                  <c:v>44084</c:v>
                </c:pt>
                <c:pt idx="169">
                  <c:v>44085</c:v>
                </c:pt>
                <c:pt idx="170">
                  <c:v>44088</c:v>
                </c:pt>
                <c:pt idx="171">
                  <c:v>44089</c:v>
                </c:pt>
                <c:pt idx="172">
                  <c:v>44090</c:v>
                </c:pt>
                <c:pt idx="173">
                  <c:v>44091</c:v>
                </c:pt>
                <c:pt idx="174">
                  <c:v>44092</c:v>
                </c:pt>
                <c:pt idx="175">
                  <c:v>44095</c:v>
                </c:pt>
                <c:pt idx="176">
                  <c:v>44096</c:v>
                </c:pt>
                <c:pt idx="177">
                  <c:v>44097</c:v>
                </c:pt>
                <c:pt idx="178">
                  <c:v>44098</c:v>
                </c:pt>
                <c:pt idx="179">
                  <c:v>44099</c:v>
                </c:pt>
                <c:pt idx="180">
                  <c:v>44102</c:v>
                </c:pt>
                <c:pt idx="181">
                  <c:v>44103</c:v>
                </c:pt>
                <c:pt idx="182">
                  <c:v>44104</c:v>
                </c:pt>
                <c:pt idx="183">
                  <c:v>44113</c:v>
                </c:pt>
                <c:pt idx="184">
                  <c:v>44116</c:v>
                </c:pt>
                <c:pt idx="185">
                  <c:v>44117</c:v>
                </c:pt>
                <c:pt idx="186">
                  <c:v>44118</c:v>
                </c:pt>
                <c:pt idx="187">
                  <c:v>44119</c:v>
                </c:pt>
                <c:pt idx="188">
                  <c:v>44120</c:v>
                </c:pt>
                <c:pt idx="189">
                  <c:v>44123</c:v>
                </c:pt>
                <c:pt idx="190">
                  <c:v>44124</c:v>
                </c:pt>
                <c:pt idx="191">
                  <c:v>44125</c:v>
                </c:pt>
                <c:pt idx="192">
                  <c:v>44126</c:v>
                </c:pt>
                <c:pt idx="193">
                  <c:v>44127</c:v>
                </c:pt>
                <c:pt idx="194">
                  <c:v>44130</c:v>
                </c:pt>
                <c:pt idx="195">
                  <c:v>44131</c:v>
                </c:pt>
                <c:pt idx="196">
                  <c:v>44132</c:v>
                </c:pt>
                <c:pt idx="197">
                  <c:v>44133</c:v>
                </c:pt>
                <c:pt idx="198">
                  <c:v>44134</c:v>
                </c:pt>
                <c:pt idx="199">
                  <c:v>44137</c:v>
                </c:pt>
                <c:pt idx="200">
                  <c:v>44138</c:v>
                </c:pt>
                <c:pt idx="201">
                  <c:v>44139</c:v>
                </c:pt>
                <c:pt idx="202">
                  <c:v>44140</c:v>
                </c:pt>
                <c:pt idx="203">
                  <c:v>44141</c:v>
                </c:pt>
                <c:pt idx="204">
                  <c:v>44144</c:v>
                </c:pt>
                <c:pt idx="205">
                  <c:v>44145</c:v>
                </c:pt>
                <c:pt idx="206">
                  <c:v>44146</c:v>
                </c:pt>
                <c:pt idx="207">
                  <c:v>44147</c:v>
                </c:pt>
                <c:pt idx="208">
                  <c:v>44148</c:v>
                </c:pt>
                <c:pt idx="209">
                  <c:v>44151</c:v>
                </c:pt>
                <c:pt idx="210">
                  <c:v>44152</c:v>
                </c:pt>
                <c:pt idx="211">
                  <c:v>44153</c:v>
                </c:pt>
                <c:pt idx="212">
                  <c:v>44154</c:v>
                </c:pt>
                <c:pt idx="213">
                  <c:v>44155</c:v>
                </c:pt>
                <c:pt idx="214">
                  <c:v>44158</c:v>
                </c:pt>
                <c:pt idx="215">
                  <c:v>44159</c:v>
                </c:pt>
                <c:pt idx="216">
                  <c:v>44160</c:v>
                </c:pt>
                <c:pt idx="217">
                  <c:v>44161</c:v>
                </c:pt>
                <c:pt idx="218">
                  <c:v>44162</c:v>
                </c:pt>
                <c:pt idx="219">
                  <c:v>44165</c:v>
                </c:pt>
                <c:pt idx="220">
                  <c:v>44166</c:v>
                </c:pt>
                <c:pt idx="221">
                  <c:v>44167</c:v>
                </c:pt>
                <c:pt idx="222">
                  <c:v>44168</c:v>
                </c:pt>
                <c:pt idx="223">
                  <c:v>44169</c:v>
                </c:pt>
                <c:pt idx="224">
                  <c:v>44172</c:v>
                </c:pt>
                <c:pt idx="225">
                  <c:v>44173</c:v>
                </c:pt>
                <c:pt idx="226">
                  <c:v>44174</c:v>
                </c:pt>
                <c:pt idx="227">
                  <c:v>44175</c:v>
                </c:pt>
                <c:pt idx="228">
                  <c:v>44176</c:v>
                </c:pt>
                <c:pt idx="229">
                  <c:v>44179</c:v>
                </c:pt>
                <c:pt idx="230">
                  <c:v>44180</c:v>
                </c:pt>
                <c:pt idx="231">
                  <c:v>44181</c:v>
                </c:pt>
                <c:pt idx="232">
                  <c:v>44182</c:v>
                </c:pt>
                <c:pt idx="233">
                  <c:v>44183</c:v>
                </c:pt>
                <c:pt idx="234">
                  <c:v>44186</c:v>
                </c:pt>
                <c:pt idx="235">
                  <c:v>44187</c:v>
                </c:pt>
                <c:pt idx="236">
                  <c:v>44188</c:v>
                </c:pt>
                <c:pt idx="237">
                  <c:v>44189</c:v>
                </c:pt>
                <c:pt idx="238">
                  <c:v>44190</c:v>
                </c:pt>
                <c:pt idx="239">
                  <c:v>44193</c:v>
                </c:pt>
                <c:pt idx="240">
                  <c:v>44194</c:v>
                </c:pt>
                <c:pt idx="241">
                  <c:v>44195</c:v>
                </c:pt>
                <c:pt idx="242">
                  <c:v>44196</c:v>
                </c:pt>
                <c:pt idx="243">
                  <c:v>44200</c:v>
                </c:pt>
                <c:pt idx="244">
                  <c:v>44201</c:v>
                </c:pt>
                <c:pt idx="245">
                  <c:v>44202</c:v>
                </c:pt>
                <c:pt idx="246">
                  <c:v>44203</c:v>
                </c:pt>
                <c:pt idx="247">
                  <c:v>44204</c:v>
                </c:pt>
                <c:pt idx="248">
                  <c:v>44207</c:v>
                </c:pt>
                <c:pt idx="249">
                  <c:v>44208</c:v>
                </c:pt>
                <c:pt idx="250">
                  <c:v>44209</c:v>
                </c:pt>
                <c:pt idx="251">
                  <c:v>44210</c:v>
                </c:pt>
                <c:pt idx="252">
                  <c:v>44211</c:v>
                </c:pt>
                <c:pt idx="253">
                  <c:v>44214</c:v>
                </c:pt>
                <c:pt idx="254">
                  <c:v>44215</c:v>
                </c:pt>
                <c:pt idx="255">
                  <c:v>44216</c:v>
                </c:pt>
                <c:pt idx="256">
                  <c:v>44217</c:v>
                </c:pt>
                <c:pt idx="257">
                  <c:v>44218</c:v>
                </c:pt>
                <c:pt idx="258">
                  <c:v>44221</c:v>
                </c:pt>
                <c:pt idx="259">
                  <c:v>44222</c:v>
                </c:pt>
                <c:pt idx="260">
                  <c:v>44223</c:v>
                </c:pt>
                <c:pt idx="261">
                  <c:v>44224</c:v>
                </c:pt>
                <c:pt idx="262">
                  <c:v>44225</c:v>
                </c:pt>
                <c:pt idx="263">
                  <c:v>44228</c:v>
                </c:pt>
                <c:pt idx="264">
                  <c:v>44229</c:v>
                </c:pt>
                <c:pt idx="265">
                  <c:v>44230</c:v>
                </c:pt>
                <c:pt idx="266">
                  <c:v>44231</c:v>
                </c:pt>
                <c:pt idx="267">
                  <c:v>44232</c:v>
                </c:pt>
                <c:pt idx="268">
                  <c:v>44235</c:v>
                </c:pt>
                <c:pt idx="269">
                  <c:v>44236</c:v>
                </c:pt>
                <c:pt idx="270">
                  <c:v>44237</c:v>
                </c:pt>
                <c:pt idx="271">
                  <c:v>44245</c:v>
                </c:pt>
                <c:pt idx="272">
                  <c:v>44246</c:v>
                </c:pt>
                <c:pt idx="273">
                  <c:v>44249</c:v>
                </c:pt>
                <c:pt idx="274">
                  <c:v>44250</c:v>
                </c:pt>
                <c:pt idx="275">
                  <c:v>44251</c:v>
                </c:pt>
                <c:pt idx="276">
                  <c:v>44252</c:v>
                </c:pt>
                <c:pt idx="277">
                  <c:v>44253</c:v>
                </c:pt>
                <c:pt idx="278">
                  <c:v>44256</c:v>
                </c:pt>
                <c:pt idx="279">
                  <c:v>44257</c:v>
                </c:pt>
                <c:pt idx="280">
                  <c:v>44258</c:v>
                </c:pt>
                <c:pt idx="281">
                  <c:v>44259</c:v>
                </c:pt>
                <c:pt idx="282">
                  <c:v>44260</c:v>
                </c:pt>
                <c:pt idx="283">
                  <c:v>44263</c:v>
                </c:pt>
                <c:pt idx="284">
                  <c:v>44264</c:v>
                </c:pt>
                <c:pt idx="285">
                  <c:v>44265</c:v>
                </c:pt>
                <c:pt idx="286">
                  <c:v>44266</c:v>
                </c:pt>
                <c:pt idx="287">
                  <c:v>44267</c:v>
                </c:pt>
                <c:pt idx="288">
                  <c:v>44270</c:v>
                </c:pt>
                <c:pt idx="289">
                  <c:v>44271</c:v>
                </c:pt>
                <c:pt idx="290">
                  <c:v>44272</c:v>
                </c:pt>
                <c:pt idx="291">
                  <c:v>44273</c:v>
                </c:pt>
                <c:pt idx="292">
                  <c:v>44274</c:v>
                </c:pt>
                <c:pt idx="293">
                  <c:v>44277</c:v>
                </c:pt>
                <c:pt idx="294">
                  <c:v>44278</c:v>
                </c:pt>
                <c:pt idx="295">
                  <c:v>44279</c:v>
                </c:pt>
                <c:pt idx="296">
                  <c:v>44280</c:v>
                </c:pt>
                <c:pt idx="297">
                  <c:v>44281</c:v>
                </c:pt>
                <c:pt idx="298">
                  <c:v>44284</c:v>
                </c:pt>
                <c:pt idx="299">
                  <c:v>44285</c:v>
                </c:pt>
                <c:pt idx="300">
                  <c:v>44286</c:v>
                </c:pt>
                <c:pt idx="301">
                  <c:v>44287</c:v>
                </c:pt>
                <c:pt idx="302">
                  <c:v>44288</c:v>
                </c:pt>
                <c:pt idx="303">
                  <c:v>44292</c:v>
                </c:pt>
                <c:pt idx="304">
                  <c:v>44293</c:v>
                </c:pt>
                <c:pt idx="305">
                  <c:v>44294</c:v>
                </c:pt>
                <c:pt idx="306">
                  <c:v>44295</c:v>
                </c:pt>
                <c:pt idx="307">
                  <c:v>44298</c:v>
                </c:pt>
                <c:pt idx="308">
                  <c:v>44299</c:v>
                </c:pt>
                <c:pt idx="309">
                  <c:v>44300</c:v>
                </c:pt>
                <c:pt idx="310">
                  <c:v>44301</c:v>
                </c:pt>
                <c:pt idx="311">
                  <c:v>44302</c:v>
                </c:pt>
                <c:pt idx="312">
                  <c:v>44305</c:v>
                </c:pt>
                <c:pt idx="313">
                  <c:v>44306</c:v>
                </c:pt>
                <c:pt idx="314">
                  <c:v>44307</c:v>
                </c:pt>
                <c:pt idx="315">
                  <c:v>44308</c:v>
                </c:pt>
                <c:pt idx="316">
                  <c:v>44309</c:v>
                </c:pt>
                <c:pt idx="317">
                  <c:v>44312</c:v>
                </c:pt>
                <c:pt idx="318">
                  <c:v>44313</c:v>
                </c:pt>
                <c:pt idx="319">
                  <c:v>44314</c:v>
                </c:pt>
                <c:pt idx="320">
                  <c:v>44315</c:v>
                </c:pt>
                <c:pt idx="321">
                  <c:v>44316</c:v>
                </c:pt>
                <c:pt idx="322">
                  <c:v>44322</c:v>
                </c:pt>
                <c:pt idx="323">
                  <c:v>44323</c:v>
                </c:pt>
                <c:pt idx="324">
                  <c:v>44326</c:v>
                </c:pt>
                <c:pt idx="325">
                  <c:v>44327</c:v>
                </c:pt>
                <c:pt idx="326">
                  <c:v>44328</c:v>
                </c:pt>
                <c:pt idx="327">
                  <c:v>44329</c:v>
                </c:pt>
                <c:pt idx="328">
                  <c:v>44330</c:v>
                </c:pt>
                <c:pt idx="329">
                  <c:v>44333</c:v>
                </c:pt>
                <c:pt idx="330">
                  <c:v>44334</c:v>
                </c:pt>
                <c:pt idx="331">
                  <c:v>44335</c:v>
                </c:pt>
                <c:pt idx="332">
                  <c:v>44336</c:v>
                </c:pt>
                <c:pt idx="333">
                  <c:v>44337</c:v>
                </c:pt>
                <c:pt idx="334">
                  <c:v>44340</c:v>
                </c:pt>
                <c:pt idx="335">
                  <c:v>44341</c:v>
                </c:pt>
                <c:pt idx="336">
                  <c:v>44342</c:v>
                </c:pt>
                <c:pt idx="337">
                  <c:v>44343</c:v>
                </c:pt>
                <c:pt idx="338">
                  <c:v>44344</c:v>
                </c:pt>
                <c:pt idx="339">
                  <c:v>44347</c:v>
                </c:pt>
                <c:pt idx="340">
                  <c:v>44348</c:v>
                </c:pt>
                <c:pt idx="341">
                  <c:v>44349</c:v>
                </c:pt>
                <c:pt idx="342">
                  <c:v>44350</c:v>
                </c:pt>
                <c:pt idx="343">
                  <c:v>44351</c:v>
                </c:pt>
                <c:pt idx="344">
                  <c:v>44354</c:v>
                </c:pt>
                <c:pt idx="345">
                  <c:v>44355</c:v>
                </c:pt>
                <c:pt idx="346">
                  <c:v>44356</c:v>
                </c:pt>
                <c:pt idx="347">
                  <c:v>44357</c:v>
                </c:pt>
                <c:pt idx="348">
                  <c:v>44358</c:v>
                </c:pt>
                <c:pt idx="349">
                  <c:v>44362</c:v>
                </c:pt>
                <c:pt idx="350">
                  <c:v>44363</c:v>
                </c:pt>
                <c:pt idx="351">
                  <c:v>44364</c:v>
                </c:pt>
                <c:pt idx="352">
                  <c:v>44365</c:v>
                </c:pt>
                <c:pt idx="353">
                  <c:v>44368</c:v>
                </c:pt>
                <c:pt idx="354">
                  <c:v>44369</c:v>
                </c:pt>
                <c:pt idx="355">
                  <c:v>44370</c:v>
                </c:pt>
                <c:pt idx="356">
                  <c:v>44371</c:v>
                </c:pt>
                <c:pt idx="357">
                  <c:v>44372</c:v>
                </c:pt>
                <c:pt idx="358">
                  <c:v>44375</c:v>
                </c:pt>
                <c:pt idx="359">
                  <c:v>44376</c:v>
                </c:pt>
                <c:pt idx="360">
                  <c:v>44377</c:v>
                </c:pt>
                <c:pt idx="361">
                  <c:v>44378</c:v>
                </c:pt>
                <c:pt idx="362">
                  <c:v>44379</c:v>
                </c:pt>
                <c:pt idx="363">
                  <c:v>44382</c:v>
                </c:pt>
                <c:pt idx="364">
                  <c:v>44383</c:v>
                </c:pt>
                <c:pt idx="365">
                  <c:v>44384</c:v>
                </c:pt>
                <c:pt idx="366">
                  <c:v>44385</c:v>
                </c:pt>
                <c:pt idx="367">
                  <c:v>44386</c:v>
                </c:pt>
                <c:pt idx="368">
                  <c:v>44389</c:v>
                </c:pt>
                <c:pt idx="369">
                  <c:v>44390</c:v>
                </c:pt>
                <c:pt idx="370">
                  <c:v>44391</c:v>
                </c:pt>
                <c:pt idx="371">
                  <c:v>44392</c:v>
                </c:pt>
                <c:pt idx="372">
                  <c:v>44393</c:v>
                </c:pt>
                <c:pt idx="373">
                  <c:v>44396</c:v>
                </c:pt>
                <c:pt idx="374">
                  <c:v>44397</c:v>
                </c:pt>
                <c:pt idx="375">
                  <c:v>44398</c:v>
                </c:pt>
                <c:pt idx="376">
                  <c:v>44399</c:v>
                </c:pt>
                <c:pt idx="377">
                  <c:v>44400</c:v>
                </c:pt>
                <c:pt idx="378">
                  <c:v>44403</c:v>
                </c:pt>
                <c:pt idx="379">
                  <c:v>44404</c:v>
                </c:pt>
                <c:pt idx="380">
                  <c:v>44405</c:v>
                </c:pt>
                <c:pt idx="381">
                  <c:v>44406</c:v>
                </c:pt>
                <c:pt idx="382">
                  <c:v>44407</c:v>
                </c:pt>
                <c:pt idx="383">
                  <c:v>44410</c:v>
                </c:pt>
                <c:pt idx="384">
                  <c:v>44411</c:v>
                </c:pt>
                <c:pt idx="385">
                  <c:v>44412</c:v>
                </c:pt>
                <c:pt idx="386">
                  <c:v>44413</c:v>
                </c:pt>
                <c:pt idx="387">
                  <c:v>44414</c:v>
                </c:pt>
                <c:pt idx="388">
                  <c:v>44417</c:v>
                </c:pt>
                <c:pt idx="389">
                  <c:v>44418</c:v>
                </c:pt>
                <c:pt idx="390">
                  <c:v>44419</c:v>
                </c:pt>
                <c:pt idx="391">
                  <c:v>44420</c:v>
                </c:pt>
                <c:pt idx="392">
                  <c:v>44421</c:v>
                </c:pt>
                <c:pt idx="393">
                  <c:v>44424</c:v>
                </c:pt>
                <c:pt idx="394">
                  <c:v>44425</c:v>
                </c:pt>
                <c:pt idx="395">
                  <c:v>44426</c:v>
                </c:pt>
                <c:pt idx="396">
                  <c:v>44427</c:v>
                </c:pt>
                <c:pt idx="397">
                  <c:v>44428</c:v>
                </c:pt>
                <c:pt idx="398">
                  <c:v>44431</c:v>
                </c:pt>
                <c:pt idx="399">
                  <c:v>44432</c:v>
                </c:pt>
                <c:pt idx="400">
                  <c:v>44433</c:v>
                </c:pt>
                <c:pt idx="401">
                  <c:v>44434</c:v>
                </c:pt>
                <c:pt idx="402">
                  <c:v>44435</c:v>
                </c:pt>
                <c:pt idx="403">
                  <c:v>44438</c:v>
                </c:pt>
                <c:pt idx="404">
                  <c:v>44439</c:v>
                </c:pt>
                <c:pt idx="405">
                  <c:v>44440</c:v>
                </c:pt>
                <c:pt idx="406">
                  <c:v>44441</c:v>
                </c:pt>
                <c:pt idx="407">
                  <c:v>44442</c:v>
                </c:pt>
                <c:pt idx="408">
                  <c:v>44445</c:v>
                </c:pt>
                <c:pt idx="409">
                  <c:v>44446</c:v>
                </c:pt>
                <c:pt idx="410">
                  <c:v>44447</c:v>
                </c:pt>
                <c:pt idx="411">
                  <c:v>44448</c:v>
                </c:pt>
                <c:pt idx="412">
                  <c:v>44449</c:v>
                </c:pt>
                <c:pt idx="413">
                  <c:v>44452</c:v>
                </c:pt>
                <c:pt idx="414">
                  <c:v>44453</c:v>
                </c:pt>
                <c:pt idx="415">
                  <c:v>44454</c:v>
                </c:pt>
                <c:pt idx="416">
                  <c:v>44455</c:v>
                </c:pt>
                <c:pt idx="417">
                  <c:v>44456</c:v>
                </c:pt>
                <c:pt idx="418">
                  <c:v>44461</c:v>
                </c:pt>
                <c:pt idx="419">
                  <c:v>44462</c:v>
                </c:pt>
                <c:pt idx="420">
                  <c:v>44463</c:v>
                </c:pt>
                <c:pt idx="421">
                  <c:v>44466</c:v>
                </c:pt>
                <c:pt idx="422">
                  <c:v>44467</c:v>
                </c:pt>
                <c:pt idx="423">
                  <c:v>44468</c:v>
                </c:pt>
                <c:pt idx="424">
                  <c:v>44469</c:v>
                </c:pt>
                <c:pt idx="425">
                  <c:v>44477</c:v>
                </c:pt>
                <c:pt idx="426">
                  <c:v>44480</c:v>
                </c:pt>
                <c:pt idx="427">
                  <c:v>44481</c:v>
                </c:pt>
                <c:pt idx="428">
                  <c:v>44482</c:v>
                </c:pt>
                <c:pt idx="429">
                  <c:v>44483</c:v>
                </c:pt>
                <c:pt idx="430">
                  <c:v>44484</c:v>
                </c:pt>
                <c:pt idx="431">
                  <c:v>44487</c:v>
                </c:pt>
                <c:pt idx="432">
                  <c:v>44488</c:v>
                </c:pt>
                <c:pt idx="433">
                  <c:v>44489</c:v>
                </c:pt>
                <c:pt idx="434">
                  <c:v>44490</c:v>
                </c:pt>
                <c:pt idx="435">
                  <c:v>44491</c:v>
                </c:pt>
                <c:pt idx="436">
                  <c:v>44494</c:v>
                </c:pt>
                <c:pt idx="437">
                  <c:v>44495</c:v>
                </c:pt>
                <c:pt idx="438">
                  <c:v>44496</c:v>
                </c:pt>
                <c:pt idx="439">
                  <c:v>44497</c:v>
                </c:pt>
                <c:pt idx="440">
                  <c:v>44498</c:v>
                </c:pt>
                <c:pt idx="441">
                  <c:v>44501</c:v>
                </c:pt>
                <c:pt idx="442">
                  <c:v>44502</c:v>
                </c:pt>
                <c:pt idx="443">
                  <c:v>44503</c:v>
                </c:pt>
                <c:pt idx="444">
                  <c:v>44504</c:v>
                </c:pt>
                <c:pt idx="445">
                  <c:v>44505</c:v>
                </c:pt>
                <c:pt idx="446">
                  <c:v>44508</c:v>
                </c:pt>
                <c:pt idx="447">
                  <c:v>44509</c:v>
                </c:pt>
                <c:pt idx="448">
                  <c:v>44510</c:v>
                </c:pt>
                <c:pt idx="449">
                  <c:v>44511</c:v>
                </c:pt>
                <c:pt idx="450">
                  <c:v>44512</c:v>
                </c:pt>
                <c:pt idx="451">
                  <c:v>44515</c:v>
                </c:pt>
                <c:pt idx="452">
                  <c:v>44516</c:v>
                </c:pt>
                <c:pt idx="453">
                  <c:v>44517</c:v>
                </c:pt>
                <c:pt idx="454">
                  <c:v>44518</c:v>
                </c:pt>
                <c:pt idx="455">
                  <c:v>44519</c:v>
                </c:pt>
                <c:pt idx="456">
                  <c:v>44522</c:v>
                </c:pt>
                <c:pt idx="457">
                  <c:v>44523</c:v>
                </c:pt>
                <c:pt idx="458">
                  <c:v>44524</c:v>
                </c:pt>
                <c:pt idx="459">
                  <c:v>44525</c:v>
                </c:pt>
                <c:pt idx="460">
                  <c:v>44526</c:v>
                </c:pt>
                <c:pt idx="461">
                  <c:v>44529</c:v>
                </c:pt>
                <c:pt idx="462">
                  <c:v>44530</c:v>
                </c:pt>
                <c:pt idx="463">
                  <c:v>44531</c:v>
                </c:pt>
                <c:pt idx="464">
                  <c:v>44532</c:v>
                </c:pt>
                <c:pt idx="465">
                  <c:v>44533</c:v>
                </c:pt>
                <c:pt idx="466">
                  <c:v>44536</c:v>
                </c:pt>
                <c:pt idx="467">
                  <c:v>44537</c:v>
                </c:pt>
                <c:pt idx="468">
                  <c:v>44538</c:v>
                </c:pt>
                <c:pt idx="469">
                  <c:v>44539</c:v>
                </c:pt>
                <c:pt idx="470">
                  <c:v>44540</c:v>
                </c:pt>
                <c:pt idx="471">
                  <c:v>44543</c:v>
                </c:pt>
                <c:pt idx="472">
                  <c:v>44544</c:v>
                </c:pt>
                <c:pt idx="473">
                  <c:v>44545</c:v>
                </c:pt>
                <c:pt idx="474">
                  <c:v>44546</c:v>
                </c:pt>
                <c:pt idx="475">
                  <c:v>44547</c:v>
                </c:pt>
                <c:pt idx="476">
                  <c:v>44550</c:v>
                </c:pt>
                <c:pt idx="477">
                  <c:v>44551</c:v>
                </c:pt>
                <c:pt idx="478">
                  <c:v>44552</c:v>
                </c:pt>
                <c:pt idx="479">
                  <c:v>44553</c:v>
                </c:pt>
                <c:pt idx="480">
                  <c:v>44554</c:v>
                </c:pt>
                <c:pt idx="481">
                  <c:v>44557</c:v>
                </c:pt>
                <c:pt idx="482">
                  <c:v>44558</c:v>
                </c:pt>
                <c:pt idx="483">
                  <c:v>44559</c:v>
                </c:pt>
                <c:pt idx="484">
                  <c:v>44560</c:v>
                </c:pt>
                <c:pt idx="485">
                  <c:v>44561</c:v>
                </c:pt>
                <c:pt idx="486">
                  <c:v>44565</c:v>
                </c:pt>
                <c:pt idx="487">
                  <c:v>44566</c:v>
                </c:pt>
                <c:pt idx="488">
                  <c:v>44567</c:v>
                </c:pt>
                <c:pt idx="489">
                  <c:v>44568</c:v>
                </c:pt>
                <c:pt idx="490">
                  <c:v>44571</c:v>
                </c:pt>
                <c:pt idx="491">
                  <c:v>44572</c:v>
                </c:pt>
                <c:pt idx="492">
                  <c:v>44573</c:v>
                </c:pt>
                <c:pt idx="493">
                  <c:v>44574</c:v>
                </c:pt>
                <c:pt idx="494">
                  <c:v>44575</c:v>
                </c:pt>
                <c:pt idx="495">
                  <c:v>44578</c:v>
                </c:pt>
                <c:pt idx="496">
                  <c:v>44579</c:v>
                </c:pt>
                <c:pt idx="497">
                  <c:v>44580</c:v>
                </c:pt>
                <c:pt idx="498">
                  <c:v>44581</c:v>
                </c:pt>
                <c:pt idx="499">
                  <c:v>44582</c:v>
                </c:pt>
                <c:pt idx="500">
                  <c:v>44585</c:v>
                </c:pt>
                <c:pt idx="501">
                  <c:v>44586</c:v>
                </c:pt>
                <c:pt idx="502">
                  <c:v>44587</c:v>
                </c:pt>
                <c:pt idx="503">
                  <c:v>44588</c:v>
                </c:pt>
                <c:pt idx="504">
                  <c:v>44589</c:v>
                </c:pt>
                <c:pt idx="505">
                  <c:v>44599</c:v>
                </c:pt>
                <c:pt idx="506">
                  <c:v>44600</c:v>
                </c:pt>
                <c:pt idx="507">
                  <c:v>44601</c:v>
                </c:pt>
                <c:pt idx="508">
                  <c:v>44602</c:v>
                </c:pt>
                <c:pt idx="509">
                  <c:v>44603</c:v>
                </c:pt>
                <c:pt idx="510">
                  <c:v>44606</c:v>
                </c:pt>
                <c:pt idx="511">
                  <c:v>44607</c:v>
                </c:pt>
                <c:pt idx="512">
                  <c:v>44608</c:v>
                </c:pt>
                <c:pt idx="513">
                  <c:v>44609</c:v>
                </c:pt>
                <c:pt idx="514">
                  <c:v>44610</c:v>
                </c:pt>
                <c:pt idx="515">
                  <c:v>44613</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7</c:v>
                </c:pt>
                <c:pt idx="546">
                  <c:v>44658</c:v>
                </c:pt>
                <c:pt idx="547">
                  <c:v>44659</c:v>
                </c:pt>
                <c:pt idx="548">
                  <c:v>44662</c:v>
                </c:pt>
                <c:pt idx="549">
                  <c:v>44663</c:v>
                </c:pt>
                <c:pt idx="550">
                  <c:v>44664</c:v>
                </c:pt>
                <c:pt idx="551">
                  <c:v>44665</c:v>
                </c:pt>
                <c:pt idx="552">
                  <c:v>44666</c:v>
                </c:pt>
                <c:pt idx="553">
                  <c:v>44669</c:v>
                </c:pt>
                <c:pt idx="554">
                  <c:v>44670</c:v>
                </c:pt>
                <c:pt idx="555">
                  <c:v>44671</c:v>
                </c:pt>
                <c:pt idx="556">
                  <c:v>44672</c:v>
                </c:pt>
                <c:pt idx="557">
                  <c:v>44673</c:v>
                </c:pt>
                <c:pt idx="558">
                  <c:v>44676</c:v>
                </c:pt>
                <c:pt idx="559">
                  <c:v>44677</c:v>
                </c:pt>
                <c:pt idx="560">
                  <c:v>44678</c:v>
                </c:pt>
                <c:pt idx="561">
                  <c:v>44679</c:v>
                </c:pt>
                <c:pt idx="562">
                  <c:v>44680</c:v>
                </c:pt>
                <c:pt idx="563">
                  <c:v>44686</c:v>
                </c:pt>
                <c:pt idx="564">
                  <c:v>44687</c:v>
                </c:pt>
                <c:pt idx="565">
                  <c:v>44690</c:v>
                </c:pt>
                <c:pt idx="566">
                  <c:v>44691</c:v>
                </c:pt>
                <c:pt idx="567">
                  <c:v>44692</c:v>
                </c:pt>
                <c:pt idx="568">
                  <c:v>44693</c:v>
                </c:pt>
                <c:pt idx="569">
                  <c:v>44694</c:v>
                </c:pt>
                <c:pt idx="570">
                  <c:v>44697</c:v>
                </c:pt>
                <c:pt idx="571">
                  <c:v>44698</c:v>
                </c:pt>
                <c:pt idx="572">
                  <c:v>44699</c:v>
                </c:pt>
                <c:pt idx="573">
                  <c:v>44700</c:v>
                </c:pt>
                <c:pt idx="574">
                  <c:v>44701</c:v>
                </c:pt>
                <c:pt idx="575">
                  <c:v>44704</c:v>
                </c:pt>
                <c:pt idx="576">
                  <c:v>44705</c:v>
                </c:pt>
                <c:pt idx="577">
                  <c:v>44706</c:v>
                </c:pt>
                <c:pt idx="578">
                  <c:v>44707</c:v>
                </c:pt>
                <c:pt idx="579">
                  <c:v>44708</c:v>
                </c:pt>
                <c:pt idx="580">
                  <c:v>44711</c:v>
                </c:pt>
                <c:pt idx="581">
                  <c:v>44712</c:v>
                </c:pt>
                <c:pt idx="582">
                  <c:v>44713</c:v>
                </c:pt>
                <c:pt idx="583">
                  <c:v>44714</c:v>
                </c:pt>
                <c:pt idx="584">
                  <c:v>44718</c:v>
                </c:pt>
                <c:pt idx="585">
                  <c:v>44719</c:v>
                </c:pt>
                <c:pt idx="586">
                  <c:v>44720</c:v>
                </c:pt>
                <c:pt idx="587">
                  <c:v>44721</c:v>
                </c:pt>
                <c:pt idx="588">
                  <c:v>44722</c:v>
                </c:pt>
                <c:pt idx="589">
                  <c:v>44725</c:v>
                </c:pt>
                <c:pt idx="590">
                  <c:v>44726</c:v>
                </c:pt>
                <c:pt idx="591">
                  <c:v>44727</c:v>
                </c:pt>
                <c:pt idx="592">
                  <c:v>44728</c:v>
                </c:pt>
                <c:pt idx="593">
                  <c:v>44729</c:v>
                </c:pt>
                <c:pt idx="594">
                  <c:v>44732</c:v>
                </c:pt>
                <c:pt idx="595">
                  <c:v>44733</c:v>
                </c:pt>
                <c:pt idx="596">
                  <c:v>44734</c:v>
                </c:pt>
                <c:pt idx="597">
                  <c:v>44735</c:v>
                </c:pt>
                <c:pt idx="598">
                  <c:v>44736</c:v>
                </c:pt>
                <c:pt idx="599">
                  <c:v>44739</c:v>
                </c:pt>
                <c:pt idx="600">
                  <c:v>44740</c:v>
                </c:pt>
                <c:pt idx="601">
                  <c:v>44741</c:v>
                </c:pt>
                <c:pt idx="602">
                  <c:v>44742</c:v>
                </c:pt>
                <c:pt idx="603">
                  <c:v>44743</c:v>
                </c:pt>
                <c:pt idx="604">
                  <c:v>44746</c:v>
                </c:pt>
                <c:pt idx="605">
                  <c:v>44747</c:v>
                </c:pt>
                <c:pt idx="606">
                  <c:v>44748</c:v>
                </c:pt>
                <c:pt idx="607">
                  <c:v>44749</c:v>
                </c:pt>
                <c:pt idx="608">
                  <c:v>44750</c:v>
                </c:pt>
                <c:pt idx="609">
                  <c:v>44753</c:v>
                </c:pt>
                <c:pt idx="610">
                  <c:v>44754</c:v>
                </c:pt>
                <c:pt idx="611">
                  <c:v>44755</c:v>
                </c:pt>
                <c:pt idx="612">
                  <c:v>44756</c:v>
                </c:pt>
                <c:pt idx="613">
                  <c:v>44757</c:v>
                </c:pt>
                <c:pt idx="614">
                  <c:v>44760</c:v>
                </c:pt>
                <c:pt idx="615">
                  <c:v>44761</c:v>
                </c:pt>
                <c:pt idx="616">
                  <c:v>44762</c:v>
                </c:pt>
                <c:pt idx="617">
                  <c:v>44763</c:v>
                </c:pt>
                <c:pt idx="618">
                  <c:v>44764</c:v>
                </c:pt>
                <c:pt idx="619">
                  <c:v>44767</c:v>
                </c:pt>
                <c:pt idx="620">
                  <c:v>44768</c:v>
                </c:pt>
                <c:pt idx="621">
                  <c:v>44769</c:v>
                </c:pt>
                <c:pt idx="622">
                  <c:v>44770</c:v>
                </c:pt>
                <c:pt idx="623">
                  <c:v>44771</c:v>
                </c:pt>
                <c:pt idx="624">
                  <c:v>44774</c:v>
                </c:pt>
                <c:pt idx="625">
                  <c:v>44775</c:v>
                </c:pt>
                <c:pt idx="626">
                  <c:v>44776</c:v>
                </c:pt>
                <c:pt idx="627">
                  <c:v>44777</c:v>
                </c:pt>
                <c:pt idx="628">
                  <c:v>44778</c:v>
                </c:pt>
                <c:pt idx="629">
                  <c:v>44781</c:v>
                </c:pt>
                <c:pt idx="630">
                  <c:v>44782</c:v>
                </c:pt>
                <c:pt idx="631">
                  <c:v>44783</c:v>
                </c:pt>
                <c:pt idx="632">
                  <c:v>44784</c:v>
                </c:pt>
                <c:pt idx="633">
                  <c:v>44785</c:v>
                </c:pt>
                <c:pt idx="634">
                  <c:v>44788</c:v>
                </c:pt>
                <c:pt idx="635">
                  <c:v>44789</c:v>
                </c:pt>
                <c:pt idx="636">
                  <c:v>44790</c:v>
                </c:pt>
                <c:pt idx="637">
                  <c:v>44791</c:v>
                </c:pt>
                <c:pt idx="638">
                  <c:v>44792</c:v>
                </c:pt>
                <c:pt idx="639">
                  <c:v>44795</c:v>
                </c:pt>
                <c:pt idx="640">
                  <c:v>44796</c:v>
                </c:pt>
                <c:pt idx="641">
                  <c:v>44797</c:v>
                </c:pt>
                <c:pt idx="642">
                  <c:v>44798</c:v>
                </c:pt>
                <c:pt idx="643">
                  <c:v>44799</c:v>
                </c:pt>
                <c:pt idx="644">
                  <c:v>44802</c:v>
                </c:pt>
                <c:pt idx="645">
                  <c:v>44803</c:v>
                </c:pt>
                <c:pt idx="646">
                  <c:v>44804</c:v>
                </c:pt>
                <c:pt idx="647">
                  <c:v>44805</c:v>
                </c:pt>
                <c:pt idx="648">
                  <c:v>44806</c:v>
                </c:pt>
                <c:pt idx="649">
                  <c:v>44809</c:v>
                </c:pt>
                <c:pt idx="650">
                  <c:v>44810</c:v>
                </c:pt>
                <c:pt idx="651">
                  <c:v>44811</c:v>
                </c:pt>
                <c:pt idx="652">
                  <c:v>44812</c:v>
                </c:pt>
                <c:pt idx="653">
                  <c:v>44813</c:v>
                </c:pt>
                <c:pt idx="654">
                  <c:v>44817</c:v>
                </c:pt>
                <c:pt idx="655">
                  <c:v>44818</c:v>
                </c:pt>
                <c:pt idx="656">
                  <c:v>44819</c:v>
                </c:pt>
                <c:pt idx="657">
                  <c:v>44820</c:v>
                </c:pt>
                <c:pt idx="658">
                  <c:v>44823</c:v>
                </c:pt>
                <c:pt idx="659">
                  <c:v>44824</c:v>
                </c:pt>
                <c:pt idx="660">
                  <c:v>44825</c:v>
                </c:pt>
                <c:pt idx="661">
                  <c:v>44826</c:v>
                </c:pt>
                <c:pt idx="662">
                  <c:v>44827</c:v>
                </c:pt>
                <c:pt idx="663">
                  <c:v>44830</c:v>
                </c:pt>
                <c:pt idx="664">
                  <c:v>44831</c:v>
                </c:pt>
                <c:pt idx="665">
                  <c:v>44832</c:v>
                </c:pt>
                <c:pt idx="666">
                  <c:v>44833</c:v>
                </c:pt>
                <c:pt idx="667">
                  <c:v>44834</c:v>
                </c:pt>
                <c:pt idx="668">
                  <c:v>44844</c:v>
                </c:pt>
                <c:pt idx="669">
                  <c:v>44845</c:v>
                </c:pt>
                <c:pt idx="670">
                  <c:v>44846</c:v>
                </c:pt>
                <c:pt idx="671">
                  <c:v>44847</c:v>
                </c:pt>
                <c:pt idx="672">
                  <c:v>44848</c:v>
                </c:pt>
                <c:pt idx="673">
                  <c:v>44851</c:v>
                </c:pt>
                <c:pt idx="674">
                  <c:v>44852</c:v>
                </c:pt>
                <c:pt idx="675">
                  <c:v>44853</c:v>
                </c:pt>
                <c:pt idx="676">
                  <c:v>44854</c:v>
                </c:pt>
                <c:pt idx="677">
                  <c:v>44855</c:v>
                </c:pt>
                <c:pt idx="678">
                  <c:v>44858</c:v>
                </c:pt>
                <c:pt idx="679">
                  <c:v>44859</c:v>
                </c:pt>
                <c:pt idx="680">
                  <c:v>44860</c:v>
                </c:pt>
                <c:pt idx="681">
                  <c:v>44861</c:v>
                </c:pt>
                <c:pt idx="682">
                  <c:v>44862</c:v>
                </c:pt>
                <c:pt idx="683">
                  <c:v>44865</c:v>
                </c:pt>
                <c:pt idx="684">
                  <c:v>44866</c:v>
                </c:pt>
                <c:pt idx="685">
                  <c:v>44867</c:v>
                </c:pt>
                <c:pt idx="686">
                  <c:v>44868</c:v>
                </c:pt>
                <c:pt idx="687">
                  <c:v>44869</c:v>
                </c:pt>
                <c:pt idx="688">
                  <c:v>44872</c:v>
                </c:pt>
                <c:pt idx="689">
                  <c:v>44873</c:v>
                </c:pt>
                <c:pt idx="690">
                  <c:v>44874</c:v>
                </c:pt>
                <c:pt idx="691">
                  <c:v>44875</c:v>
                </c:pt>
                <c:pt idx="692">
                  <c:v>44876</c:v>
                </c:pt>
                <c:pt idx="693">
                  <c:v>44879</c:v>
                </c:pt>
                <c:pt idx="694">
                  <c:v>44880</c:v>
                </c:pt>
                <c:pt idx="695">
                  <c:v>44881</c:v>
                </c:pt>
                <c:pt idx="696">
                  <c:v>44882</c:v>
                </c:pt>
                <c:pt idx="697">
                  <c:v>44883</c:v>
                </c:pt>
                <c:pt idx="698">
                  <c:v>44886</c:v>
                </c:pt>
                <c:pt idx="699">
                  <c:v>44887</c:v>
                </c:pt>
                <c:pt idx="700">
                  <c:v>44888</c:v>
                </c:pt>
                <c:pt idx="701">
                  <c:v>44889</c:v>
                </c:pt>
                <c:pt idx="702">
                  <c:v>44890</c:v>
                </c:pt>
                <c:pt idx="703">
                  <c:v>44893</c:v>
                </c:pt>
                <c:pt idx="704">
                  <c:v>44894</c:v>
                </c:pt>
                <c:pt idx="705">
                  <c:v>44895</c:v>
                </c:pt>
                <c:pt idx="706">
                  <c:v>44896</c:v>
                </c:pt>
                <c:pt idx="707">
                  <c:v>44897</c:v>
                </c:pt>
                <c:pt idx="708">
                  <c:v>44900</c:v>
                </c:pt>
                <c:pt idx="709">
                  <c:v>44901</c:v>
                </c:pt>
                <c:pt idx="710">
                  <c:v>44902</c:v>
                </c:pt>
                <c:pt idx="711">
                  <c:v>44903</c:v>
                </c:pt>
                <c:pt idx="712">
                  <c:v>44904</c:v>
                </c:pt>
                <c:pt idx="713">
                  <c:v>44907</c:v>
                </c:pt>
                <c:pt idx="714">
                  <c:v>44908</c:v>
                </c:pt>
                <c:pt idx="715">
                  <c:v>44909</c:v>
                </c:pt>
                <c:pt idx="716">
                  <c:v>44910</c:v>
                </c:pt>
                <c:pt idx="717">
                  <c:v>44911</c:v>
                </c:pt>
                <c:pt idx="718">
                  <c:v>44914</c:v>
                </c:pt>
                <c:pt idx="719">
                  <c:v>44915</c:v>
                </c:pt>
                <c:pt idx="720">
                  <c:v>44916</c:v>
                </c:pt>
                <c:pt idx="721">
                  <c:v>44917</c:v>
                </c:pt>
                <c:pt idx="722">
                  <c:v>44918</c:v>
                </c:pt>
                <c:pt idx="723">
                  <c:v>44921</c:v>
                </c:pt>
                <c:pt idx="724">
                  <c:v>44922</c:v>
                </c:pt>
                <c:pt idx="725">
                  <c:v>44923</c:v>
                </c:pt>
                <c:pt idx="726">
                  <c:v>44924</c:v>
                </c:pt>
                <c:pt idx="727">
                  <c:v>44925</c:v>
                </c:pt>
                <c:pt idx="728">
                  <c:v>44929</c:v>
                </c:pt>
                <c:pt idx="729">
                  <c:v>44930</c:v>
                </c:pt>
                <c:pt idx="730">
                  <c:v>44931</c:v>
                </c:pt>
                <c:pt idx="731">
                  <c:v>44932</c:v>
                </c:pt>
                <c:pt idx="732">
                  <c:v>44935</c:v>
                </c:pt>
                <c:pt idx="733">
                  <c:v>44936</c:v>
                </c:pt>
                <c:pt idx="734">
                  <c:v>44937</c:v>
                </c:pt>
                <c:pt idx="735">
                  <c:v>44938</c:v>
                </c:pt>
                <c:pt idx="736">
                  <c:v>44939</c:v>
                </c:pt>
                <c:pt idx="737">
                  <c:v>44942</c:v>
                </c:pt>
                <c:pt idx="738">
                  <c:v>44943</c:v>
                </c:pt>
                <c:pt idx="739">
                  <c:v>44944</c:v>
                </c:pt>
                <c:pt idx="740">
                  <c:v>44945</c:v>
                </c:pt>
                <c:pt idx="741">
                  <c:v>44946</c:v>
                </c:pt>
                <c:pt idx="742">
                  <c:v>44956</c:v>
                </c:pt>
                <c:pt idx="743">
                  <c:v>44957</c:v>
                </c:pt>
                <c:pt idx="744">
                  <c:v>44958</c:v>
                </c:pt>
                <c:pt idx="745">
                  <c:v>44959</c:v>
                </c:pt>
                <c:pt idx="746">
                  <c:v>44960</c:v>
                </c:pt>
                <c:pt idx="747">
                  <c:v>44963</c:v>
                </c:pt>
                <c:pt idx="748">
                  <c:v>44964</c:v>
                </c:pt>
                <c:pt idx="749">
                  <c:v>44965</c:v>
                </c:pt>
                <c:pt idx="750">
                  <c:v>44966</c:v>
                </c:pt>
                <c:pt idx="751">
                  <c:v>44967</c:v>
                </c:pt>
                <c:pt idx="752">
                  <c:v>44970</c:v>
                </c:pt>
                <c:pt idx="753">
                  <c:v>44971</c:v>
                </c:pt>
                <c:pt idx="754">
                  <c:v>44972</c:v>
                </c:pt>
                <c:pt idx="755">
                  <c:v>44973</c:v>
                </c:pt>
                <c:pt idx="756">
                  <c:v>44974</c:v>
                </c:pt>
                <c:pt idx="757">
                  <c:v>44977</c:v>
                </c:pt>
                <c:pt idx="758">
                  <c:v>44978</c:v>
                </c:pt>
                <c:pt idx="759">
                  <c:v>44979</c:v>
                </c:pt>
                <c:pt idx="760">
                  <c:v>44980</c:v>
                </c:pt>
                <c:pt idx="761">
                  <c:v>44981</c:v>
                </c:pt>
                <c:pt idx="762">
                  <c:v>44984</c:v>
                </c:pt>
                <c:pt idx="763">
                  <c:v>44985</c:v>
                </c:pt>
                <c:pt idx="764">
                  <c:v>44986</c:v>
                </c:pt>
                <c:pt idx="765">
                  <c:v>44987</c:v>
                </c:pt>
                <c:pt idx="766">
                  <c:v>44988</c:v>
                </c:pt>
                <c:pt idx="767">
                  <c:v>44991</c:v>
                </c:pt>
                <c:pt idx="768">
                  <c:v>44992</c:v>
                </c:pt>
                <c:pt idx="769">
                  <c:v>44993</c:v>
                </c:pt>
                <c:pt idx="770">
                  <c:v>44994</c:v>
                </c:pt>
                <c:pt idx="771">
                  <c:v>44995</c:v>
                </c:pt>
                <c:pt idx="772">
                  <c:v>44998</c:v>
                </c:pt>
                <c:pt idx="773">
                  <c:v>44999</c:v>
                </c:pt>
                <c:pt idx="774">
                  <c:v>45000</c:v>
                </c:pt>
                <c:pt idx="775">
                  <c:v>45001</c:v>
                </c:pt>
                <c:pt idx="776">
                  <c:v>45002</c:v>
                </c:pt>
                <c:pt idx="777">
                  <c:v>45005</c:v>
                </c:pt>
                <c:pt idx="778">
                  <c:v>45006</c:v>
                </c:pt>
                <c:pt idx="779">
                  <c:v>45007</c:v>
                </c:pt>
                <c:pt idx="780">
                  <c:v>45008</c:v>
                </c:pt>
                <c:pt idx="781">
                  <c:v>45009</c:v>
                </c:pt>
                <c:pt idx="782">
                  <c:v>45012</c:v>
                </c:pt>
                <c:pt idx="783">
                  <c:v>45013</c:v>
                </c:pt>
                <c:pt idx="784">
                  <c:v>45014</c:v>
                </c:pt>
                <c:pt idx="785">
                  <c:v>45015</c:v>
                </c:pt>
                <c:pt idx="786">
                  <c:v>45016</c:v>
                </c:pt>
                <c:pt idx="787">
                  <c:v>45019</c:v>
                </c:pt>
                <c:pt idx="788">
                  <c:v>45020</c:v>
                </c:pt>
                <c:pt idx="789">
                  <c:v>45022</c:v>
                </c:pt>
                <c:pt idx="790">
                  <c:v>45023</c:v>
                </c:pt>
                <c:pt idx="791">
                  <c:v>45026</c:v>
                </c:pt>
                <c:pt idx="792">
                  <c:v>45027</c:v>
                </c:pt>
                <c:pt idx="793">
                  <c:v>45028</c:v>
                </c:pt>
                <c:pt idx="794">
                  <c:v>45029</c:v>
                </c:pt>
                <c:pt idx="795">
                  <c:v>45030</c:v>
                </c:pt>
                <c:pt idx="796">
                  <c:v>45033</c:v>
                </c:pt>
                <c:pt idx="797">
                  <c:v>45034</c:v>
                </c:pt>
                <c:pt idx="798">
                  <c:v>45035</c:v>
                </c:pt>
                <c:pt idx="799">
                  <c:v>45036</c:v>
                </c:pt>
                <c:pt idx="800">
                  <c:v>45037</c:v>
                </c:pt>
                <c:pt idx="801">
                  <c:v>45040</c:v>
                </c:pt>
                <c:pt idx="802">
                  <c:v>45041</c:v>
                </c:pt>
                <c:pt idx="803">
                  <c:v>45042</c:v>
                </c:pt>
                <c:pt idx="804">
                  <c:v>45043</c:v>
                </c:pt>
                <c:pt idx="805">
                  <c:v>45044</c:v>
                </c:pt>
                <c:pt idx="806">
                  <c:v>45050</c:v>
                </c:pt>
                <c:pt idx="807">
                  <c:v>45051</c:v>
                </c:pt>
                <c:pt idx="808">
                  <c:v>45054</c:v>
                </c:pt>
                <c:pt idx="809">
                  <c:v>45055</c:v>
                </c:pt>
                <c:pt idx="810">
                  <c:v>45056</c:v>
                </c:pt>
                <c:pt idx="811">
                  <c:v>45057</c:v>
                </c:pt>
                <c:pt idx="812">
                  <c:v>45058</c:v>
                </c:pt>
                <c:pt idx="813">
                  <c:v>45061</c:v>
                </c:pt>
                <c:pt idx="814">
                  <c:v>45062</c:v>
                </c:pt>
                <c:pt idx="815">
                  <c:v>45063</c:v>
                </c:pt>
                <c:pt idx="816">
                  <c:v>45064</c:v>
                </c:pt>
                <c:pt idx="817">
                  <c:v>45065</c:v>
                </c:pt>
                <c:pt idx="818">
                  <c:v>45068</c:v>
                </c:pt>
                <c:pt idx="819">
                  <c:v>45069</c:v>
                </c:pt>
                <c:pt idx="820">
                  <c:v>45070</c:v>
                </c:pt>
                <c:pt idx="821">
                  <c:v>45071</c:v>
                </c:pt>
                <c:pt idx="822">
                  <c:v>45072</c:v>
                </c:pt>
                <c:pt idx="823">
                  <c:v>45075</c:v>
                </c:pt>
                <c:pt idx="824">
                  <c:v>45076</c:v>
                </c:pt>
                <c:pt idx="825">
                  <c:v>45077</c:v>
                </c:pt>
                <c:pt idx="826">
                  <c:v>45078</c:v>
                </c:pt>
                <c:pt idx="827">
                  <c:v>45079</c:v>
                </c:pt>
                <c:pt idx="828">
                  <c:v>45082</c:v>
                </c:pt>
                <c:pt idx="829">
                  <c:v>45083</c:v>
                </c:pt>
                <c:pt idx="830">
                  <c:v>45084</c:v>
                </c:pt>
                <c:pt idx="831">
                  <c:v>45085</c:v>
                </c:pt>
                <c:pt idx="832">
                  <c:v>45086</c:v>
                </c:pt>
                <c:pt idx="833">
                  <c:v>45089</c:v>
                </c:pt>
                <c:pt idx="834">
                  <c:v>45090</c:v>
                </c:pt>
                <c:pt idx="835">
                  <c:v>45091</c:v>
                </c:pt>
                <c:pt idx="836">
                  <c:v>45092</c:v>
                </c:pt>
                <c:pt idx="837">
                  <c:v>45093</c:v>
                </c:pt>
                <c:pt idx="838">
                  <c:v>45096</c:v>
                </c:pt>
                <c:pt idx="839">
                  <c:v>45097</c:v>
                </c:pt>
                <c:pt idx="840">
                  <c:v>45098</c:v>
                </c:pt>
                <c:pt idx="841">
                  <c:v>45103</c:v>
                </c:pt>
                <c:pt idx="842">
                  <c:v>45104</c:v>
                </c:pt>
                <c:pt idx="843">
                  <c:v>45105</c:v>
                </c:pt>
                <c:pt idx="844">
                  <c:v>45106</c:v>
                </c:pt>
                <c:pt idx="845">
                  <c:v>45107</c:v>
                </c:pt>
                <c:pt idx="846">
                  <c:v>45110</c:v>
                </c:pt>
                <c:pt idx="847">
                  <c:v>45111</c:v>
                </c:pt>
                <c:pt idx="848">
                  <c:v>45112</c:v>
                </c:pt>
                <c:pt idx="849">
                  <c:v>45113</c:v>
                </c:pt>
                <c:pt idx="850">
                  <c:v>45114</c:v>
                </c:pt>
                <c:pt idx="851">
                  <c:v>45117</c:v>
                </c:pt>
                <c:pt idx="852">
                  <c:v>45118</c:v>
                </c:pt>
                <c:pt idx="853">
                  <c:v>45119</c:v>
                </c:pt>
                <c:pt idx="854">
                  <c:v>45120</c:v>
                </c:pt>
                <c:pt idx="855">
                  <c:v>45121</c:v>
                </c:pt>
                <c:pt idx="856">
                  <c:v>45124</c:v>
                </c:pt>
                <c:pt idx="857">
                  <c:v>45125</c:v>
                </c:pt>
                <c:pt idx="858">
                  <c:v>45126</c:v>
                </c:pt>
                <c:pt idx="859">
                  <c:v>45127</c:v>
                </c:pt>
                <c:pt idx="860">
                  <c:v>45128</c:v>
                </c:pt>
                <c:pt idx="861">
                  <c:v>45131</c:v>
                </c:pt>
                <c:pt idx="862">
                  <c:v>45132</c:v>
                </c:pt>
                <c:pt idx="863">
                  <c:v>45133</c:v>
                </c:pt>
                <c:pt idx="864">
                  <c:v>45134</c:v>
                </c:pt>
                <c:pt idx="865">
                  <c:v>45135</c:v>
                </c:pt>
                <c:pt idx="866">
                  <c:v>45138</c:v>
                </c:pt>
                <c:pt idx="867">
                  <c:v>45139</c:v>
                </c:pt>
                <c:pt idx="868">
                  <c:v>45140</c:v>
                </c:pt>
                <c:pt idx="869">
                  <c:v>45141</c:v>
                </c:pt>
                <c:pt idx="870">
                  <c:v>45142</c:v>
                </c:pt>
                <c:pt idx="871">
                  <c:v>45145</c:v>
                </c:pt>
                <c:pt idx="872">
                  <c:v>45146</c:v>
                </c:pt>
                <c:pt idx="873">
                  <c:v>45147</c:v>
                </c:pt>
                <c:pt idx="874">
                  <c:v>45148</c:v>
                </c:pt>
                <c:pt idx="875">
                  <c:v>45149</c:v>
                </c:pt>
                <c:pt idx="876">
                  <c:v>45152</c:v>
                </c:pt>
                <c:pt idx="877">
                  <c:v>45153</c:v>
                </c:pt>
                <c:pt idx="878">
                  <c:v>45154</c:v>
                </c:pt>
                <c:pt idx="879">
                  <c:v>45155</c:v>
                </c:pt>
                <c:pt idx="880">
                  <c:v>45156</c:v>
                </c:pt>
                <c:pt idx="881">
                  <c:v>45159</c:v>
                </c:pt>
                <c:pt idx="882">
                  <c:v>45160</c:v>
                </c:pt>
                <c:pt idx="883">
                  <c:v>45161</c:v>
                </c:pt>
                <c:pt idx="884">
                  <c:v>45162</c:v>
                </c:pt>
                <c:pt idx="885">
                  <c:v>45163</c:v>
                </c:pt>
                <c:pt idx="886">
                  <c:v>45166</c:v>
                </c:pt>
                <c:pt idx="887">
                  <c:v>45167</c:v>
                </c:pt>
                <c:pt idx="888">
                  <c:v>45168</c:v>
                </c:pt>
                <c:pt idx="889">
                  <c:v>45169</c:v>
                </c:pt>
                <c:pt idx="890">
                  <c:v>45170</c:v>
                </c:pt>
                <c:pt idx="891">
                  <c:v>45173</c:v>
                </c:pt>
                <c:pt idx="892">
                  <c:v>45174</c:v>
                </c:pt>
                <c:pt idx="893">
                  <c:v>45175</c:v>
                </c:pt>
                <c:pt idx="894">
                  <c:v>45176</c:v>
                </c:pt>
                <c:pt idx="895">
                  <c:v>45177</c:v>
                </c:pt>
                <c:pt idx="896">
                  <c:v>45180</c:v>
                </c:pt>
                <c:pt idx="897">
                  <c:v>45181</c:v>
                </c:pt>
                <c:pt idx="898">
                  <c:v>45182</c:v>
                </c:pt>
                <c:pt idx="899">
                  <c:v>45183</c:v>
                </c:pt>
                <c:pt idx="900">
                  <c:v>45184</c:v>
                </c:pt>
                <c:pt idx="901">
                  <c:v>45187</c:v>
                </c:pt>
                <c:pt idx="902">
                  <c:v>45188</c:v>
                </c:pt>
                <c:pt idx="903">
                  <c:v>45189</c:v>
                </c:pt>
                <c:pt idx="904">
                  <c:v>45190</c:v>
                </c:pt>
                <c:pt idx="905">
                  <c:v>45191</c:v>
                </c:pt>
                <c:pt idx="906">
                  <c:v>45194</c:v>
                </c:pt>
                <c:pt idx="907">
                  <c:v>45195</c:v>
                </c:pt>
                <c:pt idx="908">
                  <c:v>45196</c:v>
                </c:pt>
                <c:pt idx="909">
                  <c:v>45197</c:v>
                </c:pt>
                <c:pt idx="910">
                  <c:v>45208</c:v>
                </c:pt>
                <c:pt idx="911">
                  <c:v>45209</c:v>
                </c:pt>
                <c:pt idx="912">
                  <c:v>45210</c:v>
                </c:pt>
                <c:pt idx="913">
                  <c:v>45211</c:v>
                </c:pt>
                <c:pt idx="914">
                  <c:v>45212</c:v>
                </c:pt>
                <c:pt idx="915">
                  <c:v>45215</c:v>
                </c:pt>
                <c:pt idx="916">
                  <c:v>45216</c:v>
                </c:pt>
                <c:pt idx="917">
                  <c:v>45217</c:v>
                </c:pt>
                <c:pt idx="918">
                  <c:v>45218</c:v>
                </c:pt>
                <c:pt idx="919">
                  <c:v>45219</c:v>
                </c:pt>
                <c:pt idx="920">
                  <c:v>45222</c:v>
                </c:pt>
                <c:pt idx="921">
                  <c:v>45223</c:v>
                </c:pt>
              </c:numCache>
            </c:numRef>
          </c:cat>
          <c:val>
            <c:numRef>
              <c:f>Sheet3!$X$2:$X$1410</c:f>
              <c:numCache>
                <c:formatCode>General</c:formatCode>
                <c:ptCount val="1409"/>
                <c:pt idx="0">
                  <c:v>0.69195380779733151</c:v>
                </c:pt>
                <c:pt idx="1">
                  <c:v>0.68651844613497237</c:v>
                </c:pt>
                <c:pt idx="2">
                  <c:v>0.6903769288608419</c:v>
                </c:pt>
                <c:pt idx="3">
                  <c:v>0.69015698773504786</c:v>
                </c:pt>
                <c:pt idx="4">
                  <c:v>0.69477346825085162</c:v>
                </c:pt>
                <c:pt idx="5">
                  <c:v>0.70041963853551181</c:v>
                </c:pt>
                <c:pt idx="6">
                  <c:v>0.69854975844528266</c:v>
                </c:pt>
                <c:pt idx="7">
                  <c:v>0.7057849843377566</c:v>
                </c:pt>
                <c:pt idx="8">
                  <c:v>0.70406502951320715</c:v>
                </c:pt>
                <c:pt idx="9">
                  <c:v>0.70462591743608016</c:v>
                </c:pt>
                <c:pt idx="10">
                  <c:v>0.71211685342636311</c:v>
                </c:pt>
                <c:pt idx="11">
                  <c:v>0.71453772789401437</c:v>
                </c:pt>
                <c:pt idx="12">
                  <c:v>0.71453772789401437</c:v>
                </c:pt>
                <c:pt idx="13">
                  <c:v>0.71315795882458588</c:v>
                </c:pt>
                <c:pt idx="14">
                  <c:v>0.7141442692018497</c:v>
                </c:pt>
                <c:pt idx="15">
                  <c:v>0.71556817870482836</c:v>
                </c:pt>
                <c:pt idx="16">
                  <c:v>0.70574464911399493</c:v>
                </c:pt>
                <c:pt idx="17">
                  <c:v>0.72055224248623273</c:v>
                </c:pt>
                <c:pt idx="18">
                  <c:v>0.72365044429629499</c:v>
                </c:pt>
                <c:pt idx="19">
                  <c:v>0.72848077760223073</c:v>
                </c:pt>
                <c:pt idx="20">
                  <c:v>0.72455075693233129</c:v>
                </c:pt>
                <c:pt idx="21">
                  <c:v>0.73276087757270236</c:v>
                </c:pt>
                <c:pt idx="22">
                  <c:v>0.73356377683814478</c:v>
                </c:pt>
                <c:pt idx="23">
                  <c:v>0.74018636395461757</c:v>
                </c:pt>
                <c:pt idx="24">
                  <c:v>0.73912166625570397</c:v>
                </c:pt>
                <c:pt idx="25">
                  <c:v>0.74058362785657106</c:v>
                </c:pt>
                <c:pt idx="26">
                  <c:v>0.74058362785657106</c:v>
                </c:pt>
                <c:pt idx="27">
                  <c:v>0.7407023504019824</c:v>
                </c:pt>
                <c:pt idx="28">
                  <c:v>0.74712858869335186</c:v>
                </c:pt>
                <c:pt idx="29">
                  <c:v>0.74208972989098831</c:v>
                </c:pt>
                <c:pt idx="30">
                  <c:v>0.72881868023147856</c:v>
                </c:pt>
                <c:pt idx="31">
                  <c:v>0.70177809843012273</c:v>
                </c:pt>
                <c:pt idx="32">
                  <c:v>0.68232053869593945</c:v>
                </c:pt>
                <c:pt idx="33">
                  <c:v>0.6834742783039115</c:v>
                </c:pt>
                <c:pt idx="34">
                  <c:v>0.65194507103565635</c:v>
                </c:pt>
                <c:pt idx="35">
                  <c:v>0.65201280376989756</c:v>
                </c:pt>
                <c:pt idx="36">
                  <c:v>0.68129769830470299</c:v>
                </c:pt>
                <c:pt idx="37">
                  <c:v>0.66089568550093314</c:v>
                </c:pt>
                <c:pt idx="38">
                  <c:v>0.68631448689029129</c:v>
                </c:pt>
                <c:pt idx="39">
                  <c:v>0.66504412521271128</c:v>
                </c:pt>
                <c:pt idx="40">
                  <c:v>0.65264066338505389</c:v>
                </c:pt>
                <c:pt idx="41">
                  <c:v>0.60508010727647443</c:v>
                </c:pt>
                <c:pt idx="42">
                  <c:v>0.63503243560823996</c:v>
                </c:pt>
                <c:pt idx="43">
                  <c:v>0.60518437002468828</c:v>
                </c:pt>
                <c:pt idx="44">
                  <c:v>0.54808719714335297</c:v>
                </c:pt>
                <c:pt idx="45">
                  <c:v>0.59931140923661408</c:v>
                </c:pt>
                <c:pt idx="46">
                  <c:v>0.52546826911661293</c:v>
                </c:pt>
                <c:pt idx="47">
                  <c:v>0.55820753309771476</c:v>
                </c:pt>
                <c:pt idx="48">
                  <c:v>0.53195615180656142</c:v>
                </c:pt>
                <c:pt idx="49">
                  <c:v>0.54418914023567955</c:v>
                </c:pt>
                <c:pt idx="50">
                  <c:v>0.52356033692849557</c:v>
                </c:pt>
                <c:pt idx="51">
                  <c:v>0.52212577283810813</c:v>
                </c:pt>
                <c:pt idx="52">
                  <c:v>0.56453026968282816</c:v>
                </c:pt>
                <c:pt idx="53">
                  <c:v>0.56197621287256816</c:v>
                </c:pt>
                <c:pt idx="54">
                  <c:v>0.59342551073525784</c:v>
                </c:pt>
                <c:pt idx="55">
                  <c:v>0.57096259630985979</c:v>
                </c:pt>
                <c:pt idx="56">
                  <c:v>0.59164543359604505</c:v>
                </c:pt>
                <c:pt idx="57">
                  <c:v>0.58600991789879364</c:v>
                </c:pt>
                <c:pt idx="58">
                  <c:v>0.56017102134874908</c:v>
                </c:pt>
                <c:pt idx="59">
                  <c:v>0.5698157060795076</c:v>
                </c:pt>
                <c:pt idx="60">
                  <c:v>0.5611223237959555</c:v>
                </c:pt>
                <c:pt idx="61">
                  <c:v>0.6002535791803274</c:v>
                </c:pt>
                <c:pt idx="62">
                  <c:v>0.61575143760825823</c:v>
                </c:pt>
                <c:pt idx="63">
                  <c:v>0.62052164859953063</c:v>
                </c:pt>
                <c:pt idx="64">
                  <c:v>0.62052164859953063</c:v>
                </c:pt>
                <c:pt idx="65">
                  <c:v>0.62347829660544851</c:v>
                </c:pt>
                <c:pt idx="66">
                  <c:v>0.64808354414195568</c:v>
                </c:pt>
                <c:pt idx="67">
                  <c:v>0.63875621390758519</c:v>
                </c:pt>
                <c:pt idx="68">
                  <c:v>0.64934839587576154</c:v>
                </c:pt>
                <c:pt idx="69">
                  <c:v>0.65831194805432014</c:v>
                </c:pt>
                <c:pt idx="70">
                  <c:v>0.65150747190994129</c:v>
                </c:pt>
                <c:pt idx="71">
                  <c:v>0.62886647366642623</c:v>
                </c:pt>
                <c:pt idx="72">
                  <c:v>0.6465340627159456</c:v>
                </c:pt>
                <c:pt idx="73">
                  <c:v>0.6464861170726065</c:v>
                </c:pt>
                <c:pt idx="74">
                  <c:v>0.65712320051629092</c:v>
                </c:pt>
                <c:pt idx="75">
                  <c:v>0.66440180580035746</c:v>
                </c:pt>
                <c:pt idx="76">
                  <c:v>0.65508436911143786</c:v>
                </c:pt>
                <c:pt idx="77">
                  <c:v>0.67844683513091442</c:v>
                </c:pt>
                <c:pt idx="78">
                  <c:v>0.67653205356517709</c:v>
                </c:pt>
                <c:pt idx="79">
                  <c:v>0.67385623004167461</c:v>
                </c:pt>
                <c:pt idx="80">
                  <c:v>0.68338980264659954</c:v>
                </c:pt>
                <c:pt idx="81">
                  <c:v>0.69417072302030158</c:v>
                </c:pt>
                <c:pt idx="82">
                  <c:v>0.69957564300435016</c:v>
                </c:pt>
                <c:pt idx="83">
                  <c:v>0.68513182768792402</c:v>
                </c:pt>
                <c:pt idx="84">
                  <c:v>0.67452442488059261</c:v>
                </c:pt>
                <c:pt idx="85">
                  <c:v>0.68065461785039127</c:v>
                </c:pt>
                <c:pt idx="86">
                  <c:v>0.68604583907920014</c:v>
                </c:pt>
                <c:pt idx="87">
                  <c:v>0.70280931028289451</c:v>
                </c:pt>
                <c:pt idx="88">
                  <c:v>0.69902464862692815</c:v>
                </c:pt>
                <c:pt idx="89">
                  <c:v>0.71353619667759527</c:v>
                </c:pt>
                <c:pt idx="90">
                  <c:v>0.70661832528150936</c:v>
                </c:pt>
                <c:pt idx="91">
                  <c:v>0.7096404228957951</c:v>
                </c:pt>
                <c:pt idx="92">
                  <c:v>0.7096404228957951</c:v>
                </c:pt>
                <c:pt idx="93">
                  <c:v>0.71082993147578211</c:v>
                </c:pt>
                <c:pt idx="94">
                  <c:v>0.71632008815910042</c:v>
                </c:pt>
                <c:pt idx="95">
                  <c:v>0.71301944918827265</c:v>
                </c:pt>
                <c:pt idx="96">
                  <c:v>0.72221892437373869</c:v>
                </c:pt>
                <c:pt idx="97">
                  <c:v>0.72695108326712266</c:v>
                </c:pt>
                <c:pt idx="98">
                  <c:v>0.73123803261521414</c:v>
                </c:pt>
                <c:pt idx="99">
                  <c:v>0.73691007832643829</c:v>
                </c:pt>
                <c:pt idx="100">
                  <c:v>0.73180348678983376</c:v>
                </c:pt>
                <c:pt idx="101">
                  <c:v>0.74689266568644463</c:v>
                </c:pt>
                <c:pt idx="102">
                  <c:v>0.75531511703303233</c:v>
                </c:pt>
                <c:pt idx="103">
                  <c:v>0.75752213871055141</c:v>
                </c:pt>
                <c:pt idx="104">
                  <c:v>0.76259067814926784</c:v>
                </c:pt>
                <c:pt idx="105">
                  <c:v>0.72243658237365949</c:v>
                </c:pt>
                <c:pt idx="106">
                  <c:v>0.72974867350386763</c:v>
                </c:pt>
                <c:pt idx="107">
                  <c:v>0.74019093020636417</c:v>
                </c:pt>
                <c:pt idx="108">
                  <c:v>0.75311722785900648</c:v>
                </c:pt>
                <c:pt idx="109">
                  <c:v>0.75423291536909021</c:v>
                </c:pt>
                <c:pt idx="110">
                  <c:v>0.75670782381574264</c:v>
                </c:pt>
                <c:pt idx="111">
                  <c:v>0.75694146369677662</c:v>
                </c:pt>
                <c:pt idx="112">
                  <c:v>0.76533956170071571</c:v>
                </c:pt>
                <c:pt idx="113">
                  <c:v>0.77103976596437729</c:v>
                </c:pt>
                <c:pt idx="114">
                  <c:v>0.75412941366283415</c:v>
                </c:pt>
                <c:pt idx="115">
                  <c:v>0.75146424472674034</c:v>
                </c:pt>
                <c:pt idx="116">
                  <c:v>0.7655146013510018</c:v>
                </c:pt>
                <c:pt idx="117">
                  <c:v>0.77280994955813898</c:v>
                </c:pt>
                <c:pt idx="118">
                  <c:v>0.7768434719342947</c:v>
                </c:pt>
                <c:pt idx="119">
                  <c:v>0.7768434719342947</c:v>
                </c:pt>
                <c:pt idx="120">
                  <c:v>0.79404454226370413</c:v>
                </c:pt>
                <c:pt idx="121">
                  <c:v>0.78721342965080354</c:v>
                </c:pt>
                <c:pt idx="122">
                  <c:v>0.79852327418515245</c:v>
                </c:pt>
                <c:pt idx="123">
                  <c:v>0.80272803100180523</c:v>
                </c:pt>
                <c:pt idx="124">
                  <c:v>0.8080317324054711</c:v>
                </c:pt>
                <c:pt idx="125">
                  <c:v>0.79078652164251129</c:v>
                </c:pt>
                <c:pt idx="126">
                  <c:v>0.79822494573770841</c:v>
                </c:pt>
                <c:pt idx="127">
                  <c:v>0.80293655649823292</c:v>
                </c:pt>
                <c:pt idx="128">
                  <c:v>0.79710240885000472</c:v>
                </c:pt>
                <c:pt idx="129">
                  <c:v>0.79933682803800343</c:v>
                </c:pt>
                <c:pt idx="130">
                  <c:v>0.81942072530342747</c:v>
                </c:pt>
                <c:pt idx="131">
                  <c:v>0.81282020840372982</c:v>
                </c:pt>
                <c:pt idx="132">
                  <c:v>0.81478141352889066</c:v>
                </c:pt>
                <c:pt idx="133">
                  <c:v>0.79615795578041815</c:v>
                </c:pt>
                <c:pt idx="134">
                  <c:v>0.7886814795873327</c:v>
                </c:pt>
                <c:pt idx="135">
                  <c:v>0.80185435483429079</c:v>
                </c:pt>
                <c:pt idx="136">
                  <c:v>0.79164269384499708</c:v>
                </c:pt>
                <c:pt idx="137">
                  <c:v>0.8023619698201202</c:v>
                </c:pt>
                <c:pt idx="138">
                  <c:v>0.8057767650846126</c:v>
                </c:pt>
                <c:pt idx="139">
                  <c:v>0.8177601317515838</c:v>
                </c:pt>
                <c:pt idx="140">
                  <c:v>0.82974882571225916</c:v>
                </c:pt>
                <c:pt idx="141">
                  <c:v>0.83266894370420441</c:v>
                </c:pt>
                <c:pt idx="142">
                  <c:v>0.83702438682849467</c:v>
                </c:pt>
                <c:pt idx="143">
                  <c:v>0.84537073397930573</c:v>
                </c:pt>
                <c:pt idx="144">
                  <c:v>0.83798177761136328</c:v>
                </c:pt>
                <c:pt idx="145">
                  <c:v>0.83473821678736804</c:v>
                </c:pt>
                <c:pt idx="146">
                  <c:v>0.82061784430299212</c:v>
                </c:pt>
                <c:pt idx="147">
                  <c:v>0.83807766889804169</c:v>
                </c:pt>
                <c:pt idx="148">
                  <c:v>0.8403805818622393</c:v>
                </c:pt>
                <c:pt idx="149">
                  <c:v>0.83861496452022388</c:v>
                </c:pt>
                <c:pt idx="150">
                  <c:v>0.84701915085982526</c:v>
                </c:pt>
                <c:pt idx="151">
                  <c:v>0.85319196217925897</c:v>
                </c:pt>
                <c:pt idx="152">
                  <c:v>0.84829237405516644</c:v>
                </c:pt>
                <c:pt idx="153">
                  <c:v>0.85730996021272654</c:v>
                </c:pt>
                <c:pt idx="154">
                  <c:v>0.86087544178485653</c:v>
                </c:pt>
                <c:pt idx="155">
                  <c:v>0.86604443876199788</c:v>
                </c:pt>
                <c:pt idx="156">
                  <c:v>0.8726464777456111</c:v>
                </c:pt>
                <c:pt idx="157">
                  <c:v>0.88776000998487048</c:v>
                </c:pt>
                <c:pt idx="158">
                  <c:v>0.88473715132862707</c:v>
                </c:pt>
                <c:pt idx="159">
                  <c:v>0.89008651524975879</c:v>
                </c:pt>
                <c:pt idx="160">
                  <c:v>0.8961619131985985</c:v>
                </c:pt>
                <c:pt idx="161">
                  <c:v>0.90865898318706118</c:v>
                </c:pt>
                <c:pt idx="162">
                  <c:v>0.91754567012788557</c:v>
                </c:pt>
                <c:pt idx="163">
                  <c:v>0.87200948562696168</c:v>
                </c:pt>
                <c:pt idx="164">
                  <c:v>0.86097666036523923</c:v>
                </c:pt>
                <c:pt idx="165">
                  <c:v>0.86097666036523923</c:v>
                </c:pt>
                <c:pt idx="166">
                  <c:v>0.82555472348301517</c:v>
                </c:pt>
                <c:pt idx="167">
                  <c:v>0.84791946349586145</c:v>
                </c:pt>
                <c:pt idx="168">
                  <c:v>0.83102661515934706</c:v>
                </c:pt>
                <c:pt idx="169">
                  <c:v>0.82599993302830788</c:v>
                </c:pt>
                <c:pt idx="170">
                  <c:v>0.84145745623247703</c:v>
                </c:pt>
                <c:pt idx="171">
                  <c:v>0.85163030408192464</c:v>
                </c:pt>
                <c:pt idx="172">
                  <c:v>0.84098713230257816</c:v>
                </c:pt>
                <c:pt idx="173">
                  <c:v>0.8303180850966676</c:v>
                </c:pt>
                <c:pt idx="174">
                  <c:v>0.82141389419081468</c:v>
                </c:pt>
                <c:pt idx="175">
                  <c:v>0.82031190543597055</c:v>
                </c:pt>
                <c:pt idx="176">
                  <c:v>0.83437900498330275</c:v>
                </c:pt>
                <c:pt idx="177">
                  <c:v>0.80921515264979593</c:v>
                </c:pt>
                <c:pt idx="178">
                  <c:v>0.81220452545989774</c:v>
                </c:pt>
                <c:pt idx="179">
                  <c:v>0.83056770685881454</c:v>
                </c:pt>
                <c:pt idx="180">
                  <c:v>0.84609067967135176</c:v>
                </c:pt>
                <c:pt idx="181">
                  <c:v>0.84363403623168554</c:v>
                </c:pt>
                <c:pt idx="182">
                  <c:v>0.84989436737626223</c:v>
                </c:pt>
                <c:pt idx="183">
                  <c:v>0.8812820208403731</c:v>
                </c:pt>
                <c:pt idx="184">
                  <c:v>0.90383321613287193</c:v>
                </c:pt>
                <c:pt idx="185">
                  <c:v>0.90289256827307407</c:v>
                </c:pt>
                <c:pt idx="186">
                  <c:v>0.89564973196102249</c:v>
                </c:pt>
                <c:pt idx="187">
                  <c:v>0.8914746557807226</c:v>
                </c:pt>
                <c:pt idx="188">
                  <c:v>0.88825468725741785</c:v>
                </c:pt>
                <c:pt idx="189">
                  <c:v>0.87359093081519767</c:v>
                </c:pt>
                <c:pt idx="190">
                  <c:v>0.87645320961835271</c:v>
                </c:pt>
                <c:pt idx="191">
                  <c:v>0.87403309619265934</c:v>
                </c:pt>
                <c:pt idx="192">
                  <c:v>0.8756556376466148</c:v>
                </c:pt>
                <c:pt idx="193">
                  <c:v>0.87887256200208841</c:v>
                </c:pt>
                <c:pt idx="194">
                  <c:v>0.86446299357376177</c:v>
                </c:pt>
                <c:pt idx="195">
                  <c:v>0.86997369838993976</c:v>
                </c:pt>
                <c:pt idx="196">
                  <c:v>0.8375167809751688</c:v>
                </c:pt>
                <c:pt idx="197">
                  <c:v>0.85127033123590179</c:v>
                </c:pt>
                <c:pt idx="198">
                  <c:v>0.83041778159313484</c:v>
                </c:pt>
                <c:pt idx="199">
                  <c:v>0.83392009668277045</c:v>
                </c:pt>
                <c:pt idx="200">
                  <c:v>0.84936620425757314</c:v>
                </c:pt>
                <c:pt idx="201">
                  <c:v>0.88210699032259055</c:v>
                </c:pt>
                <c:pt idx="202">
                  <c:v>0.90494966468491345</c:v>
                </c:pt>
                <c:pt idx="203">
                  <c:v>0.90527691272675248</c:v>
                </c:pt>
                <c:pt idx="204">
                  <c:v>0.89146780640310275</c:v>
                </c:pt>
                <c:pt idx="205">
                  <c:v>0.87929722341452143</c:v>
                </c:pt>
                <c:pt idx="206">
                  <c:v>0.89699677622626695</c:v>
                </c:pt>
                <c:pt idx="207">
                  <c:v>0.89114892982279903</c:v>
                </c:pt>
                <c:pt idx="208">
                  <c:v>0.90025860205724872</c:v>
                </c:pt>
                <c:pt idx="209">
                  <c:v>0.90747632398469391</c:v>
                </c:pt>
                <c:pt idx="210">
                  <c:v>0.90558970097139402</c:v>
                </c:pt>
                <c:pt idx="211">
                  <c:v>0.89815127687619678</c:v>
                </c:pt>
                <c:pt idx="212">
                  <c:v>0.90599838050271386</c:v>
                </c:pt>
                <c:pt idx="213">
                  <c:v>0.90221295780478972</c:v>
                </c:pt>
                <c:pt idx="214">
                  <c:v>0.90416579146841525</c:v>
                </c:pt>
                <c:pt idx="215">
                  <c:v>0.91605022268087699</c:v>
                </c:pt>
                <c:pt idx="216">
                  <c:v>0.92043458539956224</c:v>
                </c:pt>
                <c:pt idx="217">
                  <c:v>0.92043458539956224</c:v>
                </c:pt>
                <c:pt idx="218">
                  <c:v>0.92891639801885562</c:v>
                </c:pt>
                <c:pt idx="219">
                  <c:v>0.9283752971868845</c:v>
                </c:pt>
                <c:pt idx="220">
                  <c:v>0.94027571028045931</c:v>
                </c:pt>
                <c:pt idx="221">
                  <c:v>0.93983887219670204</c:v>
                </c:pt>
                <c:pt idx="222">
                  <c:v>0.94195532988124708</c:v>
                </c:pt>
                <c:pt idx="223">
                  <c:v>0.94858020012359323</c:v>
                </c:pt>
                <c:pt idx="224">
                  <c:v>0.95282072591226108</c:v>
                </c:pt>
                <c:pt idx="225">
                  <c:v>0.95760159149094215</c:v>
                </c:pt>
                <c:pt idx="226">
                  <c:v>0.93904586647671073</c:v>
                </c:pt>
                <c:pt idx="227">
                  <c:v>0.94413419300632884</c:v>
                </c:pt>
                <c:pt idx="228">
                  <c:v>0.9420078417763329</c:v>
                </c:pt>
                <c:pt idx="229">
                  <c:v>0.9467392396277593</c:v>
                </c:pt>
                <c:pt idx="230">
                  <c:v>0.95853691205703551</c:v>
                </c:pt>
                <c:pt idx="231">
                  <c:v>0.9633413699364074</c:v>
                </c:pt>
                <c:pt idx="232">
                  <c:v>0.97145103303835356</c:v>
                </c:pt>
                <c:pt idx="233">
                  <c:v>0.97075772381482939</c:v>
                </c:pt>
                <c:pt idx="234">
                  <c:v>0.96975923676624154</c:v>
                </c:pt>
                <c:pt idx="235">
                  <c:v>0.97473645117002594</c:v>
                </c:pt>
                <c:pt idx="236">
                  <c:v>0.97193505572349226</c:v>
                </c:pt>
                <c:pt idx="237">
                  <c:v>0.97449367878549886</c:v>
                </c:pt>
                <c:pt idx="238">
                  <c:v>0.97449367878549886</c:v>
                </c:pt>
                <c:pt idx="239">
                  <c:v>0.9816999850835777</c:v>
                </c:pt>
                <c:pt idx="240">
                  <c:v>0.97795565865137279</c:v>
                </c:pt>
                <c:pt idx="241">
                  <c:v>0.97946099964383238</c:v>
                </c:pt>
                <c:pt idx="242">
                  <c:v>0.98085218434262733</c:v>
                </c:pt>
                <c:pt idx="243">
                  <c:v>0.96640532485837016</c:v>
                </c:pt>
                <c:pt idx="244">
                  <c:v>0.97557664149139867</c:v>
                </c:pt>
                <c:pt idx="245">
                  <c:v>0.96962757650754816</c:v>
                </c:pt>
                <c:pt idx="246">
                  <c:v>0.99449005622577991</c:v>
                </c:pt>
                <c:pt idx="247">
                  <c:v>1.0047260705577221</c:v>
                </c:pt>
                <c:pt idx="248">
                  <c:v>0.99212702094691896</c:v>
                </c:pt>
                <c:pt idx="249">
                  <c:v>0.99486677199487372</c:v>
                </c:pt>
                <c:pt idx="250">
                  <c:v>0.9991681811401627</c:v>
                </c:pt>
                <c:pt idx="251">
                  <c:v>0.99792692170704755</c:v>
                </c:pt>
                <c:pt idx="252">
                  <c:v>0.98924038880111542</c:v>
                </c:pt>
                <c:pt idx="253">
                  <c:v>0.98924038880111542</c:v>
                </c:pt>
                <c:pt idx="254">
                  <c:v>1.0043607704179949</c:v>
                </c:pt>
                <c:pt idx="255">
                  <c:v>1.0241531886135946</c:v>
                </c:pt>
                <c:pt idx="256">
                  <c:v>1.029759784716451</c:v>
                </c:pt>
                <c:pt idx="257">
                  <c:v>1.0306836896531779</c:v>
                </c:pt>
                <c:pt idx="258">
                  <c:v>1.0377560525666902</c:v>
                </c:pt>
                <c:pt idx="259">
                  <c:v>1.0370003379026294</c:v>
                </c:pt>
                <c:pt idx="260">
                  <c:v>1.009948340471907</c:v>
                </c:pt>
                <c:pt idx="261">
                  <c:v>1.0150138357427922</c:v>
                </c:pt>
                <c:pt idx="262">
                  <c:v>0.99473435069422256</c:v>
                </c:pt>
                <c:pt idx="263">
                  <c:v>1.020054977671029</c:v>
                </c:pt>
                <c:pt idx="264">
                  <c:v>1.0359896741827173</c:v>
                </c:pt>
                <c:pt idx="265">
                  <c:v>1.0358192007841778</c:v>
                </c:pt>
                <c:pt idx="266">
                  <c:v>1.0485438223180121</c:v>
                </c:pt>
                <c:pt idx="267">
                  <c:v>1.0545225679382155</c:v>
                </c:pt>
                <c:pt idx="268">
                  <c:v>1.0645180930115039</c:v>
                </c:pt>
                <c:pt idx="269">
                  <c:v>1.066044743178781</c:v>
                </c:pt>
                <c:pt idx="270">
                  <c:v>1.0633681586133208</c:v>
                </c:pt>
                <c:pt idx="271">
                  <c:v>1.0552120719519509</c:v>
                </c:pt>
                <c:pt idx="272">
                  <c:v>1.0559046201335172</c:v>
                </c:pt>
                <c:pt idx="273">
                  <c:v>1.029921886653455</c:v>
                </c:pt>
                <c:pt idx="274">
                  <c:v>1.024758216970018</c:v>
                </c:pt>
                <c:pt idx="275">
                  <c:v>1.0348625710432668</c:v>
                </c:pt>
                <c:pt idx="276">
                  <c:v>0.99844366919637018</c:v>
                </c:pt>
                <c:pt idx="277">
                  <c:v>1.0039931871523942</c:v>
                </c:pt>
                <c:pt idx="278">
                  <c:v>1.0341669786938694</c:v>
                </c:pt>
                <c:pt idx="279">
                  <c:v>1.0166599694974385</c:v>
                </c:pt>
                <c:pt idx="280">
                  <c:v>0.989183310654283</c:v>
                </c:pt>
                <c:pt idx="281">
                  <c:v>0.9683094518366987</c:v>
                </c:pt>
                <c:pt idx="282">
                  <c:v>0.98327762506202498</c:v>
                </c:pt>
                <c:pt idx="283">
                  <c:v>0.95960998121748453</c:v>
                </c:pt>
                <c:pt idx="284">
                  <c:v>0.99497255682700303</c:v>
                </c:pt>
                <c:pt idx="285">
                  <c:v>0.99459279689007818</c:v>
                </c:pt>
                <c:pt idx="286">
                  <c:v>1.0196950048250062</c:v>
                </c:pt>
                <c:pt idx="287">
                  <c:v>1.0136972331558585</c:v>
                </c:pt>
                <c:pt idx="288">
                  <c:v>1.024340404935205</c:v>
                </c:pt>
                <c:pt idx="289">
                  <c:v>1.0252430006971145</c:v>
                </c:pt>
                <c:pt idx="290">
                  <c:v>1.0293244687166094</c:v>
                </c:pt>
                <c:pt idx="291">
                  <c:v>0.9981955695181387</c:v>
                </c:pt>
                <c:pt idx="292">
                  <c:v>1.0057352121937186</c:v>
                </c:pt>
                <c:pt idx="293">
                  <c:v>1.0180869231682483</c:v>
                </c:pt>
                <c:pt idx="294">
                  <c:v>1.0066834704730943</c:v>
                </c:pt>
                <c:pt idx="295">
                  <c:v>0.98645421419373691</c:v>
                </c:pt>
                <c:pt idx="296">
                  <c:v>0.98765589944504828</c:v>
                </c:pt>
                <c:pt idx="297">
                  <c:v>0.99991248017485701</c:v>
                </c:pt>
                <c:pt idx="298">
                  <c:v>0.99389416037284972</c:v>
                </c:pt>
                <c:pt idx="299">
                  <c:v>0.99280967558303423</c:v>
                </c:pt>
                <c:pt idx="300">
                  <c:v>1.0081423879061302</c:v>
                </c:pt>
                <c:pt idx="301">
                  <c:v>1.0258929305290461</c:v>
                </c:pt>
                <c:pt idx="302">
                  <c:v>1.0258929305290461</c:v>
                </c:pt>
                <c:pt idx="303">
                  <c:v>1.0425041933411874</c:v>
                </c:pt>
                <c:pt idx="304">
                  <c:v>1.0417781593134794</c:v>
                </c:pt>
                <c:pt idx="305">
                  <c:v>1.0524685156942073</c:v>
                </c:pt>
                <c:pt idx="306">
                  <c:v>1.0578627810908472</c:v>
                </c:pt>
                <c:pt idx="307">
                  <c:v>1.0540431115048234</c:v>
                </c:pt>
                <c:pt idx="308">
                  <c:v>1.0651619345077734</c:v>
                </c:pt>
                <c:pt idx="309">
                  <c:v>1.0546397683997115</c:v>
                </c:pt>
                <c:pt idx="310">
                  <c:v>1.0684085394995997</c:v>
                </c:pt>
                <c:pt idx="311">
                  <c:v>1.0694420344782449</c:v>
                </c:pt>
                <c:pt idx="312">
                  <c:v>1.0589723802652689</c:v>
                </c:pt>
                <c:pt idx="313">
                  <c:v>1.0491929911079858</c:v>
                </c:pt>
                <c:pt idx="314">
                  <c:v>1.0616702740055466</c:v>
                </c:pt>
                <c:pt idx="315">
                  <c:v>1.0516389799602432</c:v>
                </c:pt>
                <c:pt idx="316">
                  <c:v>1.0667380524023051</c:v>
                </c:pt>
                <c:pt idx="317">
                  <c:v>1.0760204811611676</c:v>
                </c:pt>
                <c:pt idx="318">
                  <c:v>1.0723248614142595</c:v>
                </c:pt>
                <c:pt idx="319">
                  <c:v>1.0693423379817777</c:v>
                </c:pt>
                <c:pt idx="320">
                  <c:v>1.0717411422326535</c:v>
                </c:pt>
                <c:pt idx="321">
                  <c:v>1.062618532284922</c:v>
                </c:pt>
                <c:pt idx="322">
                  <c:v>1.0375163243499941</c:v>
                </c:pt>
                <c:pt idx="323">
                  <c:v>1.0466031653257108</c:v>
                </c:pt>
                <c:pt idx="324">
                  <c:v>1.0199377772095333</c:v>
                </c:pt>
                <c:pt idx="325">
                  <c:v>1.0189918020560311</c:v>
                </c:pt>
                <c:pt idx="326">
                  <c:v>0.99176552601698043</c:v>
                </c:pt>
                <c:pt idx="327">
                  <c:v>0.99886680852488763</c:v>
                </c:pt>
                <c:pt idx="328">
                  <c:v>1.022077827194769</c:v>
                </c:pt>
                <c:pt idx="329">
                  <c:v>1.0182018405038706</c:v>
                </c:pt>
                <c:pt idx="330">
                  <c:v>1.0124628231003632</c:v>
                </c:pt>
                <c:pt idx="331">
                  <c:v>1.0121660167368347</c:v>
                </c:pt>
                <c:pt idx="332">
                  <c:v>1.0301266069400938</c:v>
                </c:pt>
                <c:pt idx="333">
                  <c:v>1.025198860263564</c:v>
                </c:pt>
                <c:pt idx="334">
                  <c:v>1.039672356216343</c:v>
                </c:pt>
                <c:pt idx="335">
                  <c:v>1.0393679394332369</c:v>
                </c:pt>
                <c:pt idx="336">
                  <c:v>1.045519441577853</c:v>
                </c:pt>
                <c:pt idx="337">
                  <c:v>1.0453885423611176</c:v>
                </c:pt>
                <c:pt idx="338">
                  <c:v>1.0463368006404929</c:v>
                </c:pt>
                <c:pt idx="339">
                  <c:v>1.0463368006404929</c:v>
                </c:pt>
                <c:pt idx="340">
                  <c:v>1.0454037632002728</c:v>
                </c:pt>
                <c:pt idx="341">
                  <c:v>1.0469144314864367</c:v>
                </c:pt>
                <c:pt idx="342">
                  <c:v>1.0361213344414104</c:v>
                </c:pt>
                <c:pt idx="343">
                  <c:v>1.0513406515127992</c:v>
                </c:pt>
                <c:pt idx="344">
                  <c:v>1.0564571365948547</c:v>
                </c:pt>
                <c:pt idx="345">
                  <c:v>1.0597440768104427</c:v>
                </c:pt>
                <c:pt idx="346">
                  <c:v>1.0587425455940238</c:v>
                </c:pt>
                <c:pt idx="347">
                  <c:v>1.0670059391714384</c:v>
                </c:pt>
                <c:pt idx="348">
                  <c:v>1.0707418941421079</c:v>
                </c:pt>
                <c:pt idx="349">
                  <c:v>1.0710036925755793</c:v>
                </c:pt>
                <c:pt idx="350">
                  <c:v>1.0684785553597143</c:v>
                </c:pt>
                <c:pt idx="351">
                  <c:v>1.0777381528598435</c:v>
                </c:pt>
                <c:pt idx="352">
                  <c:v>1.0677707863389925</c:v>
                </c:pt>
                <c:pt idx="353">
                  <c:v>1.0762259624897641</c:v>
                </c:pt>
                <c:pt idx="354">
                  <c:v>1.0847336505356213</c:v>
                </c:pt>
                <c:pt idx="355">
                  <c:v>1.0861385339896559</c:v>
                </c:pt>
                <c:pt idx="356">
                  <c:v>1.0935952230918395</c:v>
                </c:pt>
                <c:pt idx="357">
                  <c:v>1.0928859319872024</c:v>
                </c:pt>
                <c:pt idx="358">
                  <c:v>1.1035496518994086</c:v>
                </c:pt>
                <c:pt idx="359">
                  <c:v>1.1056668706259114</c:v>
                </c:pt>
                <c:pt idx="360">
                  <c:v>1.10381145033288</c:v>
                </c:pt>
                <c:pt idx="361">
                  <c:v>1.1052140506610411</c:v>
                </c:pt>
                <c:pt idx="362">
                  <c:v>1.1141144363571054</c:v>
                </c:pt>
                <c:pt idx="363">
                  <c:v>1.1141144363571054</c:v>
                </c:pt>
                <c:pt idx="364">
                  <c:v>1.1159645293564324</c:v>
                </c:pt>
                <c:pt idx="365">
                  <c:v>1.1160725973144352</c:v>
                </c:pt>
                <c:pt idx="366">
                  <c:v>1.1080611086250409</c:v>
                </c:pt>
                <c:pt idx="367">
                  <c:v>1.1188777979707578</c:v>
                </c:pt>
                <c:pt idx="368">
                  <c:v>1.1212613813824783</c:v>
                </c:pt>
                <c:pt idx="369">
                  <c:v>1.1170307491392615</c:v>
                </c:pt>
                <c:pt idx="370">
                  <c:v>1.1145421419373693</c:v>
                </c:pt>
                <c:pt idx="371">
                  <c:v>1.1067932127234039</c:v>
                </c:pt>
                <c:pt idx="372">
                  <c:v>1.0979734974748627</c:v>
                </c:pt>
                <c:pt idx="373">
                  <c:v>1.0863858726259297</c:v>
                </c:pt>
                <c:pt idx="374">
                  <c:v>1.1034256020602928</c:v>
                </c:pt>
                <c:pt idx="375">
                  <c:v>1.1135527873922746</c:v>
                </c:pt>
                <c:pt idx="376">
                  <c:v>1.1175596732999085</c:v>
                </c:pt>
                <c:pt idx="377">
                  <c:v>1.1291571916942926</c:v>
                </c:pt>
                <c:pt idx="378">
                  <c:v>1.1294402993025812</c:v>
                </c:pt>
                <c:pt idx="379">
                  <c:v>1.1157316505173565</c:v>
                </c:pt>
                <c:pt idx="380">
                  <c:v>1.1234942784865616</c:v>
                </c:pt>
                <c:pt idx="381">
                  <c:v>1.1246875922763375</c:v>
                </c:pt>
                <c:pt idx="382">
                  <c:v>1.1166525112862524</c:v>
                </c:pt>
                <c:pt idx="383">
                  <c:v>1.1172910254888173</c:v>
                </c:pt>
                <c:pt idx="384">
                  <c:v>1.1233961040740099</c:v>
                </c:pt>
                <c:pt idx="385">
                  <c:v>1.1248603488007503</c:v>
                </c:pt>
                <c:pt idx="386">
                  <c:v>1.1335811285947819</c:v>
                </c:pt>
                <c:pt idx="387">
                  <c:v>1.1290635835334875</c:v>
                </c:pt>
                <c:pt idx="388">
                  <c:v>1.13092204799435</c:v>
                </c:pt>
                <c:pt idx="389">
                  <c:v>1.1254356965208208</c:v>
                </c:pt>
                <c:pt idx="390">
                  <c:v>1.1236883441857917</c:v>
                </c:pt>
                <c:pt idx="391">
                  <c:v>1.1275795517158453</c:v>
                </c:pt>
                <c:pt idx="392">
                  <c:v>1.1280848835758013</c:v>
                </c:pt>
                <c:pt idx="393">
                  <c:v>1.1258672073108735</c:v>
                </c:pt>
                <c:pt idx="394">
                  <c:v>1.1153967920559398</c:v>
                </c:pt>
                <c:pt idx="395">
                  <c:v>1.1054826984721322</c:v>
                </c:pt>
                <c:pt idx="396">
                  <c:v>1.1066912331010634</c:v>
                </c:pt>
                <c:pt idx="397">
                  <c:v>1.1198473654249506</c:v>
                </c:pt>
                <c:pt idx="398">
                  <c:v>1.1371983610200398</c:v>
                </c:pt>
                <c:pt idx="399">
                  <c:v>1.1430697997241983</c:v>
                </c:pt>
                <c:pt idx="400">
                  <c:v>1.1447486582830286</c:v>
                </c:pt>
                <c:pt idx="401">
                  <c:v>1.1374388502786936</c:v>
                </c:pt>
                <c:pt idx="402">
                  <c:v>1.151418430000883</c:v>
                </c:pt>
                <c:pt idx="403">
                  <c:v>1.1617982812628427</c:v>
                </c:pt>
                <c:pt idx="404">
                  <c:v>1.1612921883609288</c:v>
                </c:pt>
                <c:pt idx="405">
                  <c:v>1.1651080527371636</c:v>
                </c:pt>
                <c:pt idx="406">
                  <c:v>1.1667671242050919</c:v>
                </c:pt>
                <c:pt idx="407">
                  <c:v>1.1692283338965044</c:v>
                </c:pt>
                <c:pt idx="408">
                  <c:v>1.1692283338965044</c:v>
                </c:pt>
                <c:pt idx="409">
                  <c:v>1.1700510202528487</c:v>
                </c:pt>
                <c:pt idx="410">
                  <c:v>1.1633774433252055</c:v>
                </c:pt>
                <c:pt idx="411">
                  <c:v>1.1604558032493448</c:v>
                </c:pt>
                <c:pt idx="412">
                  <c:v>1.1503522102180539</c:v>
                </c:pt>
                <c:pt idx="413">
                  <c:v>1.1495980176379086</c:v>
                </c:pt>
                <c:pt idx="414">
                  <c:v>1.1444366310803449</c:v>
                </c:pt>
                <c:pt idx="415">
                  <c:v>1.1538560473916049</c:v>
                </c:pt>
                <c:pt idx="416">
                  <c:v>1.1554078119434881</c:v>
                </c:pt>
                <c:pt idx="417">
                  <c:v>1.144909238136117</c:v>
                </c:pt>
                <c:pt idx="418">
                  <c:v>1.1337127888534753</c:v>
                </c:pt>
                <c:pt idx="419">
                  <c:v>1.1455386198351889</c:v>
                </c:pt>
                <c:pt idx="420">
                  <c:v>1.1451931067863634</c:v>
                </c:pt>
                <c:pt idx="421">
                  <c:v>1.1392775276486544</c:v>
                </c:pt>
                <c:pt idx="422">
                  <c:v>1.1070633826184106</c:v>
                </c:pt>
                <c:pt idx="423">
                  <c:v>1.1044575749550225</c:v>
                </c:pt>
                <c:pt idx="424">
                  <c:v>1.0995975610127338</c:v>
                </c:pt>
                <c:pt idx="425">
                  <c:v>1.1095641664916271</c:v>
                </c:pt>
                <c:pt idx="426">
                  <c:v>1.1024606008578466</c:v>
                </c:pt>
                <c:pt idx="427">
                  <c:v>1.1009172077674987</c:v>
                </c:pt>
                <c:pt idx="428">
                  <c:v>1.1089621823030347</c:v>
                </c:pt>
                <c:pt idx="429">
                  <c:v>1.128125218799563</c:v>
                </c:pt>
                <c:pt idx="430">
                  <c:v>1.1337500799094056</c:v>
                </c:pt>
                <c:pt idx="431">
                  <c:v>1.1432227691577093</c:v>
                </c:pt>
                <c:pt idx="432">
                  <c:v>1.1513872272806145</c:v>
                </c:pt>
                <c:pt idx="433">
                  <c:v>1.1508232951899104</c:v>
                </c:pt>
                <c:pt idx="434">
                  <c:v>1.1579786116768191</c:v>
                </c:pt>
                <c:pt idx="435">
                  <c:v>1.1484275351068656</c:v>
                </c:pt>
                <c:pt idx="436">
                  <c:v>1.1588165188723185</c:v>
                </c:pt>
                <c:pt idx="437">
                  <c:v>1.1595014566343071</c:v>
                </c:pt>
                <c:pt idx="438">
                  <c:v>1.1595113501797583</c:v>
                </c:pt>
                <c:pt idx="439">
                  <c:v>1.1756667488591983</c:v>
                </c:pt>
                <c:pt idx="440">
                  <c:v>1.1794925067808839</c:v>
                </c:pt>
                <c:pt idx="441">
                  <c:v>1.186914948994968</c:v>
                </c:pt>
                <c:pt idx="442">
                  <c:v>1.1910002222242517</c:v>
                </c:pt>
                <c:pt idx="443">
                  <c:v>1.2033275798561327</c:v>
                </c:pt>
                <c:pt idx="444">
                  <c:v>1.2131244729784443</c:v>
                </c:pt>
                <c:pt idx="445">
                  <c:v>1.2155050122223339</c:v>
                </c:pt>
                <c:pt idx="446">
                  <c:v>1.216324654410847</c:v>
                </c:pt>
                <c:pt idx="447">
                  <c:v>1.2090323503715408</c:v>
                </c:pt>
                <c:pt idx="448">
                  <c:v>1.1889537803998209</c:v>
                </c:pt>
                <c:pt idx="449">
                  <c:v>1.1951615996493119</c:v>
                </c:pt>
                <c:pt idx="450">
                  <c:v>1.2070856050435772</c:v>
                </c:pt>
                <c:pt idx="451">
                  <c:v>1.2065445042116063</c:v>
                </c:pt>
                <c:pt idx="452">
                  <c:v>1.2156777687467466</c:v>
                </c:pt>
                <c:pt idx="453">
                  <c:v>1.2116982803495924</c:v>
                </c:pt>
                <c:pt idx="454">
                  <c:v>1.2171884370329105</c:v>
                </c:pt>
                <c:pt idx="455">
                  <c:v>1.2220385574297483</c:v>
                </c:pt>
                <c:pt idx="456">
                  <c:v>1.206613759029763</c:v>
                </c:pt>
                <c:pt idx="457">
                  <c:v>1.2005543429620362</c:v>
                </c:pt>
                <c:pt idx="458">
                  <c:v>1.2058884860440127</c:v>
                </c:pt>
                <c:pt idx="459">
                  <c:v>1.2058884860440127</c:v>
                </c:pt>
                <c:pt idx="460">
                  <c:v>1.178980325543308</c:v>
                </c:pt>
                <c:pt idx="461">
                  <c:v>1.2011395842275576</c:v>
                </c:pt>
                <c:pt idx="462">
                  <c:v>1.1824834016749013</c:v>
                </c:pt>
                <c:pt idx="463">
                  <c:v>1.1608972075848485</c:v>
                </c:pt>
                <c:pt idx="464">
                  <c:v>1.1705829885813266</c:v>
                </c:pt>
                <c:pt idx="465">
                  <c:v>1.1480675622608425</c:v>
                </c:pt>
                <c:pt idx="466">
                  <c:v>1.1586977963269072</c:v>
                </c:pt>
                <c:pt idx="467">
                  <c:v>1.1938404308106316</c:v>
                </c:pt>
                <c:pt idx="468">
                  <c:v>1.2014561776819881</c:v>
                </c:pt>
                <c:pt idx="469">
                  <c:v>1.1809369644167222</c:v>
                </c:pt>
                <c:pt idx="470">
                  <c:v>1.1895542425044978</c:v>
                </c:pt>
                <c:pt idx="471">
                  <c:v>1.1730152786783443</c:v>
                </c:pt>
                <c:pt idx="472">
                  <c:v>1.1596483377321558</c:v>
                </c:pt>
                <c:pt idx="473">
                  <c:v>1.1846059476951083</c:v>
                </c:pt>
                <c:pt idx="474">
                  <c:v>1.1552944166917811</c:v>
                </c:pt>
                <c:pt idx="475">
                  <c:v>1.1544762965871835</c:v>
                </c:pt>
                <c:pt idx="476">
                  <c:v>1.1401123906763229</c:v>
                </c:pt>
                <c:pt idx="477">
                  <c:v>1.1675213167852372</c:v>
                </c:pt>
                <c:pt idx="478">
                  <c:v>1.1812809553816321</c:v>
                </c:pt>
                <c:pt idx="479">
                  <c:v>1.1912871350423293</c:v>
                </c:pt>
                <c:pt idx="480">
                  <c:v>1.1912871350423293</c:v>
                </c:pt>
                <c:pt idx="481">
                  <c:v>1.2078694782600756</c:v>
                </c:pt>
                <c:pt idx="482">
                  <c:v>1.2010551085702457</c:v>
                </c:pt>
                <c:pt idx="483">
                  <c:v>1.1998754935357097</c:v>
                </c:pt>
                <c:pt idx="484">
                  <c:v>1.1979987640678607</c:v>
                </c:pt>
                <c:pt idx="485">
                  <c:v>1.1906478597978063</c:v>
                </c:pt>
                <c:pt idx="486">
                  <c:v>1.1889545414417788</c:v>
                </c:pt>
                <c:pt idx="487">
                  <c:v>1.1491862939387576</c:v>
                </c:pt>
                <c:pt idx="488">
                  <c:v>1.1477174829602708</c:v>
                </c:pt>
                <c:pt idx="489">
                  <c:v>1.1366846576985483</c:v>
                </c:pt>
                <c:pt idx="490">
                  <c:v>1.1372120597752795</c:v>
                </c:pt>
                <c:pt idx="491">
                  <c:v>1.1532411254897306</c:v>
                </c:pt>
                <c:pt idx="492">
                  <c:v>1.1559002060901622</c:v>
                </c:pt>
                <c:pt idx="493">
                  <c:v>1.1268603670657571</c:v>
                </c:pt>
                <c:pt idx="494">
                  <c:v>1.1334768658465679</c:v>
                </c:pt>
                <c:pt idx="495">
                  <c:v>1.1334768658465679</c:v>
                </c:pt>
                <c:pt idx="496">
                  <c:v>1.1040359577104206</c:v>
                </c:pt>
                <c:pt idx="497">
                  <c:v>1.0913531934842633</c:v>
                </c:pt>
                <c:pt idx="498">
                  <c:v>1.0771803091048016</c:v>
                </c:pt>
                <c:pt idx="499">
                  <c:v>1.0478725833112632</c:v>
                </c:pt>
                <c:pt idx="500">
                  <c:v>1.0544335260291571</c:v>
                </c:pt>
                <c:pt idx="501">
                  <c:v>1.0303967768351006</c:v>
                </c:pt>
                <c:pt idx="502">
                  <c:v>1.0306121517091482</c:v>
                </c:pt>
                <c:pt idx="503">
                  <c:v>1.0162025832808215</c:v>
                </c:pt>
                <c:pt idx="504">
                  <c:v>1.0479981552342945</c:v>
                </c:pt>
                <c:pt idx="505">
                  <c:v>1.0666512936191199</c:v>
                </c:pt>
                <c:pt idx="506">
                  <c:v>1.0802579627820041</c:v>
                </c:pt>
                <c:pt idx="507">
                  <c:v>1.1027779553542347</c:v>
                </c:pt>
                <c:pt idx="508">
                  <c:v>1.0795867237752552</c:v>
                </c:pt>
                <c:pt idx="509">
                  <c:v>1.0495643795833751</c:v>
                </c:pt>
                <c:pt idx="510">
                  <c:v>1.0495468756183466</c:v>
                </c:pt>
                <c:pt idx="511">
                  <c:v>1.0760950632730284</c:v>
                </c:pt>
                <c:pt idx="512">
                  <c:v>1.0749025105252104</c:v>
                </c:pt>
                <c:pt idx="513">
                  <c:v>1.0438999442917287</c:v>
                </c:pt>
                <c:pt idx="514">
                  <c:v>1.0310649716740183</c:v>
                </c:pt>
                <c:pt idx="515">
                  <c:v>1.0310649716740183</c:v>
                </c:pt>
                <c:pt idx="516">
                  <c:v>1.0183898178674389</c:v>
                </c:pt>
                <c:pt idx="517">
                  <c:v>0.99220769139444198</c:v>
                </c:pt>
                <c:pt idx="518">
                  <c:v>1.0253959701306252</c:v>
                </c:pt>
                <c:pt idx="519">
                  <c:v>1.0422180415650677</c:v>
                </c:pt>
                <c:pt idx="520">
                  <c:v>1.0465392378012586</c:v>
                </c:pt>
                <c:pt idx="521">
                  <c:v>1.0298769851779468</c:v>
                </c:pt>
                <c:pt idx="522">
                  <c:v>1.04658642240264</c:v>
                </c:pt>
                <c:pt idx="523">
                  <c:v>1.0302940361708022</c:v>
                </c:pt>
                <c:pt idx="524">
                  <c:v>1.0132086442189732</c:v>
                </c:pt>
                <c:pt idx="525">
                  <c:v>0.97648989184071699</c:v>
                </c:pt>
                <c:pt idx="526">
                  <c:v>0.97379504226827029</c:v>
                </c:pt>
                <c:pt idx="527">
                  <c:v>1.0088029723254703</c:v>
                </c:pt>
                <c:pt idx="528">
                  <c:v>0.99924504637789691</c:v>
                </c:pt>
                <c:pt idx="529">
                  <c:v>0.97746783075644528</c:v>
                </c:pt>
                <c:pt idx="530">
                  <c:v>0.95748362998748848</c:v>
                </c:pt>
                <c:pt idx="531">
                  <c:v>0.9854443115157826</c:v>
                </c:pt>
                <c:pt idx="532">
                  <c:v>1.0225778317610206</c:v>
                </c:pt>
                <c:pt idx="533">
                  <c:v>1.0361418825742701</c:v>
                </c:pt>
                <c:pt idx="534">
                  <c:v>1.0573795194476663</c:v>
                </c:pt>
                <c:pt idx="535">
                  <c:v>1.0531648690855624</c:v>
                </c:pt>
                <c:pt idx="536">
                  <c:v>1.0737403994557029</c:v>
                </c:pt>
                <c:pt idx="537">
                  <c:v>1.059568276118199</c:v>
                </c:pt>
                <c:pt idx="538">
                  <c:v>1.0800585697890697</c:v>
                </c:pt>
                <c:pt idx="539">
                  <c:v>1.0783431812162669</c:v>
                </c:pt>
                <c:pt idx="540">
                  <c:v>1.0924681199523893</c:v>
                </c:pt>
                <c:pt idx="541">
                  <c:v>1.1126159447422657</c:v>
                </c:pt>
                <c:pt idx="542">
                  <c:v>1.099117343537384</c:v>
                </c:pt>
                <c:pt idx="543">
                  <c:v>1.0822412381239404</c:v>
                </c:pt>
                <c:pt idx="544">
                  <c:v>1.0853599880668621</c:v>
                </c:pt>
                <c:pt idx="545">
                  <c:v>1.0569974763848682</c:v>
                </c:pt>
                <c:pt idx="546">
                  <c:v>1.057642839965053</c:v>
                </c:pt>
                <c:pt idx="547">
                  <c:v>1.0434646282918871</c:v>
                </c:pt>
                <c:pt idx="548">
                  <c:v>1.020706429586876</c:v>
                </c:pt>
                <c:pt idx="549">
                  <c:v>1.0176325811194624</c:v>
                </c:pt>
                <c:pt idx="550">
                  <c:v>1.0383344444545917</c:v>
                </c:pt>
                <c:pt idx="551">
                  <c:v>1.0160732061480013</c:v>
                </c:pt>
                <c:pt idx="552">
                  <c:v>1.0160732061480013</c:v>
                </c:pt>
                <c:pt idx="553">
                  <c:v>1.014648535603065</c:v>
                </c:pt>
                <c:pt idx="554">
                  <c:v>1.0365132710496596</c:v>
                </c:pt>
                <c:pt idx="555">
                  <c:v>1.0238350730752488</c:v>
                </c:pt>
                <c:pt idx="556">
                  <c:v>1.0026461428871496</c:v>
                </c:pt>
                <c:pt idx="557">
                  <c:v>0.9771238397915355</c:v>
                </c:pt>
                <c:pt idx="558">
                  <c:v>0.98972365044429633</c:v>
                </c:pt>
                <c:pt idx="559">
                  <c:v>0.95059772235362883</c:v>
                </c:pt>
                <c:pt idx="560">
                  <c:v>0.95045997375927338</c:v>
                </c:pt>
                <c:pt idx="561">
                  <c:v>0.97957743906337058</c:v>
                </c:pt>
                <c:pt idx="562">
                  <c:v>0.9387178573929138</c:v>
                </c:pt>
                <c:pt idx="563">
                  <c:v>0.93742789127450188</c:v>
                </c:pt>
                <c:pt idx="564">
                  <c:v>0.92425958227929028</c:v>
                </c:pt>
                <c:pt idx="565">
                  <c:v>0.88457809355945416</c:v>
                </c:pt>
                <c:pt idx="566">
                  <c:v>0.89328593564020375</c:v>
                </c:pt>
                <c:pt idx="567">
                  <c:v>0.86486634581137734</c:v>
                </c:pt>
                <c:pt idx="568">
                  <c:v>0.86537776600699545</c:v>
                </c:pt>
                <c:pt idx="569">
                  <c:v>0.89841003114183693</c:v>
                </c:pt>
                <c:pt idx="570">
                  <c:v>0.88758725346045786</c:v>
                </c:pt>
                <c:pt idx="571">
                  <c:v>0.91207225636763811</c:v>
                </c:pt>
                <c:pt idx="572">
                  <c:v>0.86896912300568963</c:v>
                </c:pt>
                <c:pt idx="573">
                  <c:v>0.86671263360091577</c:v>
                </c:pt>
                <c:pt idx="574">
                  <c:v>0.86413422344800728</c:v>
                </c:pt>
                <c:pt idx="575">
                  <c:v>0.87788320745699366</c:v>
                </c:pt>
                <c:pt idx="576">
                  <c:v>0.85727190811483833</c:v>
                </c:pt>
                <c:pt idx="577">
                  <c:v>0.87023169161362213</c:v>
                </c:pt>
                <c:pt idx="578">
                  <c:v>0.89351272614361776</c:v>
                </c:pt>
                <c:pt idx="579">
                  <c:v>0.92322989251043386</c:v>
                </c:pt>
                <c:pt idx="580">
                  <c:v>0.92322989251043386</c:v>
                </c:pt>
                <c:pt idx="581">
                  <c:v>0.91944446981250971</c:v>
                </c:pt>
                <c:pt idx="582">
                  <c:v>0.91282873207365667</c:v>
                </c:pt>
                <c:pt idx="583">
                  <c:v>0.93736776895983831</c:v>
                </c:pt>
                <c:pt idx="584">
                  <c:v>0.91792086381306381</c:v>
                </c:pt>
                <c:pt idx="585">
                  <c:v>0.92658608754417848</c:v>
                </c:pt>
                <c:pt idx="586">
                  <c:v>0.91981585828789925</c:v>
                </c:pt>
                <c:pt idx="587">
                  <c:v>0.8945462211222629</c:v>
                </c:pt>
                <c:pt idx="588">
                  <c:v>0.86302310218967004</c:v>
                </c:pt>
                <c:pt idx="589">
                  <c:v>0.82262775611345007</c:v>
                </c:pt>
                <c:pt idx="590">
                  <c:v>0.82408286833669719</c:v>
                </c:pt>
                <c:pt idx="591">
                  <c:v>0.84469264559493695</c:v>
                </c:pt>
                <c:pt idx="592">
                  <c:v>0.81021287865642622</c:v>
                </c:pt>
                <c:pt idx="593">
                  <c:v>0.82179974246340159</c:v>
                </c:pt>
                <c:pt idx="594">
                  <c:v>0.82179974246340159</c:v>
                </c:pt>
                <c:pt idx="595">
                  <c:v>0.84242017430905003</c:v>
                </c:pt>
                <c:pt idx="596">
                  <c:v>0.84118576425355485</c:v>
                </c:pt>
                <c:pt idx="597">
                  <c:v>0.85481678675908768</c:v>
                </c:pt>
                <c:pt idx="598">
                  <c:v>0.88338858497946715</c:v>
                </c:pt>
                <c:pt idx="599">
                  <c:v>0.87706660943631143</c:v>
                </c:pt>
                <c:pt idx="600">
                  <c:v>0.85096210924300686</c:v>
                </c:pt>
                <c:pt idx="601">
                  <c:v>0.8506843289284225</c:v>
                </c:pt>
                <c:pt idx="602">
                  <c:v>0.83933338812835434</c:v>
                </c:pt>
                <c:pt idx="603">
                  <c:v>0.84687607497176542</c:v>
                </c:pt>
                <c:pt idx="604">
                  <c:v>0.84687607497176542</c:v>
                </c:pt>
                <c:pt idx="605">
                  <c:v>0.86166996958876341</c:v>
                </c:pt>
                <c:pt idx="606">
                  <c:v>0.8646844567834715</c:v>
                </c:pt>
                <c:pt idx="607">
                  <c:v>0.88443349558747886</c:v>
                </c:pt>
                <c:pt idx="608">
                  <c:v>0.88549591016051898</c:v>
                </c:pt>
                <c:pt idx="609">
                  <c:v>0.86550257688806909</c:v>
                </c:pt>
                <c:pt idx="610">
                  <c:v>0.85729321728965568</c:v>
                </c:pt>
                <c:pt idx="611">
                  <c:v>0.85598803033208837</c:v>
                </c:pt>
                <c:pt idx="612">
                  <c:v>0.85626276647884159</c:v>
                </c:pt>
                <c:pt idx="613">
                  <c:v>0.87157721379495101</c:v>
                </c:pt>
                <c:pt idx="614">
                  <c:v>0.86454746923107362</c:v>
                </c:pt>
                <c:pt idx="615">
                  <c:v>0.89141986075976343</c:v>
                </c:pt>
                <c:pt idx="616">
                  <c:v>0.90546108488053167</c:v>
                </c:pt>
                <c:pt idx="617">
                  <c:v>0.91778692042849719</c:v>
                </c:pt>
                <c:pt idx="618">
                  <c:v>0.90062542428089154</c:v>
                </c:pt>
                <c:pt idx="619">
                  <c:v>0.89671062445014726</c:v>
                </c:pt>
                <c:pt idx="620">
                  <c:v>0.87996009095973482</c:v>
                </c:pt>
                <c:pt idx="621">
                  <c:v>0.91571764734533345</c:v>
                </c:pt>
                <c:pt idx="622">
                  <c:v>0.92562413050956327</c:v>
                </c:pt>
                <c:pt idx="623">
                  <c:v>0.94298349756618793</c:v>
                </c:pt>
                <c:pt idx="624">
                  <c:v>0.94133127547587958</c:v>
                </c:pt>
                <c:pt idx="625">
                  <c:v>0.9397924486372784</c:v>
                </c:pt>
                <c:pt idx="626">
                  <c:v>0.96410012876829931</c:v>
                </c:pt>
                <c:pt idx="627">
                  <c:v>0.96808951071090454</c:v>
                </c:pt>
                <c:pt idx="628">
                  <c:v>0.9632926632511104</c:v>
                </c:pt>
                <c:pt idx="629">
                  <c:v>0.96229645932839569</c:v>
                </c:pt>
                <c:pt idx="630">
                  <c:v>0.95084049473815602</c:v>
                </c:pt>
                <c:pt idx="631">
                  <c:v>0.97830421586802929</c:v>
                </c:pt>
                <c:pt idx="632">
                  <c:v>0.97260477264632561</c:v>
                </c:pt>
                <c:pt idx="633">
                  <c:v>0.99294590209347433</c:v>
                </c:pt>
                <c:pt idx="634">
                  <c:v>0.99909968736396371</c:v>
                </c:pt>
                <c:pt idx="635">
                  <c:v>0.99715903037166242</c:v>
                </c:pt>
                <c:pt idx="636">
                  <c:v>0.98464521746012912</c:v>
                </c:pt>
                <c:pt idx="637">
                  <c:v>0.98671677366916599</c:v>
                </c:pt>
                <c:pt idx="638">
                  <c:v>0.96691978922181931</c:v>
                </c:pt>
                <c:pt idx="639">
                  <c:v>0.94228942730070597</c:v>
                </c:pt>
                <c:pt idx="640">
                  <c:v>0.9422688791678463</c:v>
                </c:pt>
                <c:pt idx="641">
                  <c:v>0.94609159292170109</c:v>
                </c:pt>
                <c:pt idx="642">
                  <c:v>0.96190147855231567</c:v>
                </c:pt>
                <c:pt idx="643">
                  <c:v>0.92403507490174952</c:v>
                </c:pt>
                <c:pt idx="644">
                  <c:v>0.91459511045762976</c:v>
                </c:pt>
                <c:pt idx="645">
                  <c:v>0.9043568129998143</c:v>
                </c:pt>
                <c:pt idx="646">
                  <c:v>0.89926239813453401</c:v>
                </c:pt>
                <c:pt idx="647">
                  <c:v>0.89689784077175738</c:v>
                </c:pt>
                <c:pt idx="648">
                  <c:v>0.8851572464893136</c:v>
                </c:pt>
                <c:pt idx="649">
                  <c:v>0.8851572464893136</c:v>
                </c:pt>
                <c:pt idx="650">
                  <c:v>0.87861609086232151</c:v>
                </c:pt>
                <c:pt idx="651">
                  <c:v>0.89741306617716454</c:v>
                </c:pt>
                <c:pt idx="652">
                  <c:v>0.90275786384654955</c:v>
                </c:pt>
                <c:pt idx="653">
                  <c:v>0.92179761154591977</c:v>
                </c:pt>
                <c:pt idx="654">
                  <c:v>0.88536348885986782</c:v>
                </c:pt>
                <c:pt idx="655">
                  <c:v>0.89191682115818416</c:v>
                </c:pt>
                <c:pt idx="656">
                  <c:v>0.87918306712085659</c:v>
                </c:pt>
                <c:pt idx="657">
                  <c:v>0.87127127492792933</c:v>
                </c:pt>
                <c:pt idx="658">
                  <c:v>0.87786342036609166</c:v>
                </c:pt>
                <c:pt idx="659">
                  <c:v>0.86949424195654756</c:v>
                </c:pt>
                <c:pt idx="660">
                  <c:v>0.85390353640976946</c:v>
                </c:pt>
                <c:pt idx="661">
                  <c:v>0.84222991381960866</c:v>
                </c:pt>
                <c:pt idx="662">
                  <c:v>0.82709507240553193</c:v>
                </c:pt>
                <c:pt idx="663">
                  <c:v>0.82214753863810031</c:v>
                </c:pt>
                <c:pt idx="664">
                  <c:v>0.82417038816184018</c:v>
                </c:pt>
                <c:pt idx="665">
                  <c:v>0.84107617421163661</c:v>
                </c:pt>
                <c:pt idx="666">
                  <c:v>0.81716956319235801</c:v>
                </c:pt>
                <c:pt idx="667">
                  <c:v>0.804849054938097</c:v>
                </c:pt>
                <c:pt idx="668">
                  <c:v>0.80229804229566792</c:v>
                </c:pt>
                <c:pt idx="669">
                  <c:v>0.79347680496321127</c:v>
                </c:pt>
                <c:pt idx="670">
                  <c:v>0.79278501782360278</c:v>
                </c:pt>
                <c:pt idx="671">
                  <c:v>0.81044499645354451</c:v>
                </c:pt>
                <c:pt idx="672">
                  <c:v>0.78550108524583173</c:v>
                </c:pt>
                <c:pt idx="673">
                  <c:v>0.81247317327098878</c:v>
                </c:pt>
                <c:pt idx="674">
                  <c:v>0.81982483858300081</c:v>
                </c:pt>
                <c:pt idx="675">
                  <c:v>0.81283162403309628</c:v>
                </c:pt>
                <c:pt idx="676">
                  <c:v>0.80783386149645209</c:v>
                </c:pt>
                <c:pt idx="677">
                  <c:v>0.82647025695820664</c:v>
                </c:pt>
                <c:pt idx="678">
                  <c:v>0.83353957570388781</c:v>
                </c:pt>
                <c:pt idx="679">
                  <c:v>0.8523000210047581</c:v>
                </c:pt>
                <c:pt idx="680">
                  <c:v>0.83493837082226019</c:v>
                </c:pt>
                <c:pt idx="681">
                  <c:v>0.82136747063139093</c:v>
                </c:pt>
                <c:pt idx="682">
                  <c:v>0.84494302839904178</c:v>
                </c:pt>
                <c:pt idx="683">
                  <c:v>0.83624431882178529</c:v>
                </c:pt>
                <c:pt idx="684">
                  <c:v>0.82883938057272977</c:v>
                </c:pt>
                <c:pt idx="685">
                  <c:v>0.80098143970873403</c:v>
                </c:pt>
                <c:pt idx="686">
                  <c:v>0.78714113066481595</c:v>
                </c:pt>
                <c:pt idx="687">
                  <c:v>0.79721047680800738</c:v>
                </c:pt>
                <c:pt idx="688">
                  <c:v>0.80400429836497755</c:v>
                </c:pt>
                <c:pt idx="689">
                  <c:v>0.80793736320270815</c:v>
                </c:pt>
                <c:pt idx="690">
                  <c:v>0.78791967658760964</c:v>
                </c:pt>
                <c:pt idx="691">
                  <c:v>0.84583344748962708</c:v>
                </c:pt>
                <c:pt idx="692">
                  <c:v>0.86175292316215979</c:v>
                </c:pt>
                <c:pt idx="693">
                  <c:v>0.85207931883700616</c:v>
                </c:pt>
                <c:pt idx="694">
                  <c:v>0.86442265835000021</c:v>
                </c:pt>
                <c:pt idx="695">
                  <c:v>0.85112345013805302</c:v>
                </c:pt>
                <c:pt idx="696">
                  <c:v>0.8481782177615016</c:v>
                </c:pt>
                <c:pt idx="697">
                  <c:v>0.84826193237685577</c:v>
                </c:pt>
                <c:pt idx="698">
                  <c:v>0.8390114673802197</c:v>
                </c:pt>
                <c:pt idx="699">
                  <c:v>0.85041948632712028</c:v>
                </c:pt>
                <c:pt idx="700">
                  <c:v>0.85886020268069418</c:v>
                </c:pt>
                <c:pt idx="701">
                  <c:v>0.85886020268069418</c:v>
                </c:pt>
                <c:pt idx="702">
                  <c:v>0.85437309929771055</c:v>
                </c:pt>
                <c:pt idx="703">
                  <c:v>0.84091331123267488</c:v>
                </c:pt>
                <c:pt idx="704">
                  <c:v>0.83591174348624198</c:v>
                </c:pt>
                <c:pt idx="705">
                  <c:v>0.8727629171651492</c:v>
                </c:pt>
                <c:pt idx="706">
                  <c:v>0.87386262279411997</c:v>
                </c:pt>
                <c:pt idx="707">
                  <c:v>0.87226823989260183</c:v>
                </c:pt>
                <c:pt idx="708">
                  <c:v>0.85540659427635568</c:v>
                </c:pt>
                <c:pt idx="709">
                  <c:v>0.83827934501684953</c:v>
                </c:pt>
                <c:pt idx="710">
                  <c:v>0.83399163462680026</c:v>
                </c:pt>
                <c:pt idx="711">
                  <c:v>0.84338669759541185</c:v>
                </c:pt>
                <c:pt idx="712">
                  <c:v>0.83749775492622469</c:v>
                </c:pt>
                <c:pt idx="713">
                  <c:v>0.84808537064265432</c:v>
                </c:pt>
                <c:pt idx="714">
                  <c:v>0.85669047205910553</c:v>
                </c:pt>
                <c:pt idx="715">
                  <c:v>0.8501515995579868</c:v>
                </c:pt>
                <c:pt idx="716">
                  <c:v>0.82272669156795963</c:v>
                </c:pt>
                <c:pt idx="717">
                  <c:v>0.8147266185079316</c:v>
                </c:pt>
                <c:pt idx="718">
                  <c:v>0.80259713178506964</c:v>
                </c:pt>
                <c:pt idx="719">
                  <c:v>0.80267932431650835</c:v>
                </c:pt>
                <c:pt idx="720">
                  <c:v>0.81502799112320667</c:v>
                </c:pt>
                <c:pt idx="721">
                  <c:v>0.79727668745833302</c:v>
                </c:pt>
                <c:pt idx="722">
                  <c:v>0.79893119267451462</c:v>
                </c:pt>
                <c:pt idx="723">
                  <c:v>0.79893119267451462</c:v>
                </c:pt>
                <c:pt idx="724">
                  <c:v>0.78792424283935625</c:v>
                </c:pt>
                <c:pt idx="725">
                  <c:v>0.77727422168238991</c:v>
                </c:pt>
                <c:pt idx="726">
                  <c:v>0.79742661272401272</c:v>
                </c:pt>
                <c:pt idx="727">
                  <c:v>0.79654304301104728</c:v>
                </c:pt>
                <c:pt idx="728">
                  <c:v>0.79049352048877164</c:v>
                </c:pt>
                <c:pt idx="729">
                  <c:v>0.79595551861965264</c:v>
                </c:pt>
                <c:pt idx="730">
                  <c:v>0.78427200248404094</c:v>
                </c:pt>
                <c:pt idx="731">
                  <c:v>0.80436731537883155</c:v>
                </c:pt>
                <c:pt idx="732">
                  <c:v>0.80941758981056144</c:v>
                </c:pt>
                <c:pt idx="733">
                  <c:v>0.81755921667473375</c:v>
                </c:pt>
                <c:pt idx="734">
                  <c:v>0.83194595384432746</c:v>
                </c:pt>
                <c:pt idx="735">
                  <c:v>0.83723062919904911</c:v>
                </c:pt>
                <c:pt idx="736">
                  <c:v>0.84317056167940652</c:v>
                </c:pt>
                <c:pt idx="737">
                  <c:v>0.84317056167940652</c:v>
                </c:pt>
                <c:pt idx="738">
                  <c:v>0.84438442360204213</c:v>
                </c:pt>
                <c:pt idx="739">
                  <c:v>0.83387443416530449</c:v>
                </c:pt>
                <c:pt idx="740">
                  <c:v>0.82590328069967167</c:v>
                </c:pt>
                <c:pt idx="741">
                  <c:v>0.84783346575463403</c:v>
                </c:pt>
                <c:pt idx="742">
                  <c:v>0.86711674688048901</c:v>
                </c:pt>
                <c:pt idx="743">
                  <c:v>0.88163286118290274</c:v>
                </c:pt>
                <c:pt idx="744">
                  <c:v>0.89927153063802712</c:v>
                </c:pt>
                <c:pt idx="745">
                  <c:v>0.92853359391409973</c:v>
                </c:pt>
                <c:pt idx="746">
                  <c:v>0.9137800345208632</c:v>
                </c:pt>
                <c:pt idx="747">
                  <c:v>0.90468482208361123</c:v>
                </c:pt>
                <c:pt idx="748">
                  <c:v>0.92191024575566916</c:v>
                </c:pt>
                <c:pt idx="749">
                  <c:v>0.90644054588017553</c:v>
                </c:pt>
                <c:pt idx="750">
                  <c:v>0.89723650444296299</c:v>
                </c:pt>
                <c:pt idx="751">
                  <c:v>0.89179809861277282</c:v>
                </c:pt>
                <c:pt idx="752">
                  <c:v>0.9050151142932813</c:v>
                </c:pt>
                <c:pt idx="753">
                  <c:v>0.91021759711656425</c:v>
                </c:pt>
                <c:pt idx="754">
                  <c:v>0.91862254449812331</c:v>
                </c:pt>
                <c:pt idx="755">
                  <c:v>0.90227840741315757</c:v>
                </c:pt>
                <c:pt idx="756">
                  <c:v>0.89706070375071922</c:v>
                </c:pt>
                <c:pt idx="757">
                  <c:v>0.89706070375071922</c:v>
                </c:pt>
                <c:pt idx="758">
                  <c:v>0.87461224912251867</c:v>
                </c:pt>
                <c:pt idx="759">
                  <c:v>0.87573630809413783</c:v>
                </c:pt>
                <c:pt idx="760">
                  <c:v>0.88207807072819544</c:v>
                </c:pt>
                <c:pt idx="761">
                  <c:v>0.86720274462171654</c:v>
                </c:pt>
                <c:pt idx="762">
                  <c:v>0.8726852908854571</c:v>
                </c:pt>
                <c:pt idx="763">
                  <c:v>0.87181465888577381</c:v>
                </c:pt>
                <c:pt idx="764">
                  <c:v>0.86602617375501145</c:v>
                </c:pt>
                <c:pt idx="765">
                  <c:v>0.87238087410235099</c:v>
                </c:pt>
                <c:pt idx="766">
                  <c:v>0.8895827054737182</c:v>
                </c:pt>
                <c:pt idx="767">
                  <c:v>0.88857280279576378</c:v>
                </c:pt>
                <c:pt idx="768">
                  <c:v>0.87750649168789974</c:v>
                </c:pt>
                <c:pt idx="769">
                  <c:v>0.88098217030901349</c:v>
                </c:pt>
                <c:pt idx="770">
                  <c:v>0.86289676922468095</c:v>
                </c:pt>
                <c:pt idx="771">
                  <c:v>0.84771626529313815</c:v>
                </c:pt>
                <c:pt idx="772">
                  <c:v>0.85151766987217548</c:v>
                </c:pt>
                <c:pt idx="773">
                  <c:v>0.86973016496345479</c:v>
                </c:pt>
                <c:pt idx="774">
                  <c:v>0.8701791797185362</c:v>
                </c:pt>
                <c:pt idx="775">
                  <c:v>0.89173417108832054</c:v>
                </c:pt>
                <c:pt idx="776">
                  <c:v>0.88513061002079174</c:v>
                </c:pt>
                <c:pt idx="777">
                  <c:v>0.8885575819566085</c:v>
                </c:pt>
                <c:pt idx="778">
                  <c:v>0.90260413337108114</c:v>
                </c:pt>
                <c:pt idx="779">
                  <c:v>0.88813292054417547</c:v>
                </c:pt>
                <c:pt idx="780">
                  <c:v>0.89707059729617011</c:v>
                </c:pt>
                <c:pt idx="781">
                  <c:v>0.8998529666937598</c:v>
                </c:pt>
                <c:pt idx="782">
                  <c:v>0.89565810342255792</c:v>
                </c:pt>
                <c:pt idx="783">
                  <c:v>0.89164284605338862</c:v>
                </c:pt>
                <c:pt idx="784">
                  <c:v>0.90763690383778239</c:v>
                </c:pt>
                <c:pt idx="785">
                  <c:v>0.91427547283536836</c:v>
                </c:pt>
                <c:pt idx="786">
                  <c:v>0.93013863140302655</c:v>
                </c:pt>
                <c:pt idx="787">
                  <c:v>0.92766828920812072</c:v>
                </c:pt>
                <c:pt idx="788">
                  <c:v>0.92286459237070662</c:v>
                </c:pt>
                <c:pt idx="789">
                  <c:v>0.91994447437876148</c:v>
                </c:pt>
                <c:pt idx="790">
                  <c:v>0.91994447437876148</c:v>
                </c:pt>
                <c:pt idx="791">
                  <c:v>0.91967049927396605</c:v>
                </c:pt>
                <c:pt idx="792">
                  <c:v>0.9156765510796141</c:v>
                </c:pt>
                <c:pt idx="793">
                  <c:v>0.90787282684468962</c:v>
                </c:pt>
                <c:pt idx="794">
                  <c:v>0.92590419395002099</c:v>
                </c:pt>
                <c:pt idx="795">
                  <c:v>0.92264693437078571</c:v>
                </c:pt>
                <c:pt idx="796">
                  <c:v>0.92525350307613163</c:v>
                </c:pt>
                <c:pt idx="797">
                  <c:v>0.92492549399233481</c:v>
                </c:pt>
                <c:pt idx="798">
                  <c:v>0.9252162120202011</c:v>
                </c:pt>
                <c:pt idx="799">
                  <c:v>0.91778311521870826</c:v>
                </c:pt>
                <c:pt idx="800">
                  <c:v>0.91876485934422536</c:v>
                </c:pt>
                <c:pt idx="801">
                  <c:v>0.91608142540114534</c:v>
                </c:pt>
                <c:pt idx="802">
                  <c:v>0.89796558263850212</c:v>
                </c:pt>
                <c:pt idx="803">
                  <c:v>0.90216577320340829</c:v>
                </c:pt>
                <c:pt idx="804">
                  <c:v>0.92407541012551109</c:v>
                </c:pt>
                <c:pt idx="805">
                  <c:v>0.9304940379973029</c:v>
                </c:pt>
                <c:pt idx="806">
                  <c:v>0.91069324834016752</c:v>
                </c:pt>
                <c:pt idx="807">
                  <c:v>0.93116603804600961</c:v>
                </c:pt>
                <c:pt idx="808">
                  <c:v>0.93280303929716257</c:v>
                </c:pt>
                <c:pt idx="809">
                  <c:v>0.92691485766993309</c:v>
                </c:pt>
                <c:pt idx="810">
                  <c:v>0.93657171907201597</c:v>
                </c:pt>
                <c:pt idx="811">
                  <c:v>0.93825133867280375</c:v>
                </c:pt>
                <c:pt idx="812">
                  <c:v>0.93492025802366541</c:v>
                </c:pt>
                <c:pt idx="813">
                  <c:v>0.941044362657802</c:v>
                </c:pt>
                <c:pt idx="814">
                  <c:v>0.93935789367939437</c:v>
                </c:pt>
                <c:pt idx="815">
                  <c:v>0.95134582659811207</c:v>
                </c:pt>
                <c:pt idx="816">
                  <c:v>0.96567396353695778</c:v>
                </c:pt>
                <c:pt idx="817">
                  <c:v>0.96331929971963215</c:v>
                </c:pt>
                <c:pt idx="818">
                  <c:v>0.96810473155005994</c:v>
                </c:pt>
                <c:pt idx="819">
                  <c:v>0.95588772500205488</c:v>
                </c:pt>
                <c:pt idx="820">
                  <c:v>0.95009695674541939</c:v>
                </c:pt>
                <c:pt idx="821">
                  <c:v>0.96637792734789063</c:v>
                </c:pt>
                <c:pt idx="822">
                  <c:v>0.98750445209545301</c:v>
                </c:pt>
                <c:pt idx="823">
                  <c:v>0.98750445209545301</c:v>
                </c:pt>
                <c:pt idx="824">
                  <c:v>0.99068104122716505</c:v>
                </c:pt>
                <c:pt idx="825">
                  <c:v>0.98442984258608157</c:v>
                </c:pt>
                <c:pt idx="826">
                  <c:v>0.9970395467842933</c:v>
                </c:pt>
                <c:pt idx="827">
                  <c:v>1.0076781523118934</c:v>
                </c:pt>
                <c:pt idx="828">
                  <c:v>1.0068151307317876</c:v>
                </c:pt>
                <c:pt idx="829">
                  <c:v>1.0103912668913264</c:v>
                </c:pt>
                <c:pt idx="830">
                  <c:v>0.99733787523173734</c:v>
                </c:pt>
                <c:pt idx="831">
                  <c:v>1.0075069178713962</c:v>
                </c:pt>
                <c:pt idx="832">
                  <c:v>1.009076186388308</c:v>
                </c:pt>
                <c:pt idx="833">
                  <c:v>1.024508595207871</c:v>
                </c:pt>
                <c:pt idx="834">
                  <c:v>1.0329866026173755</c:v>
                </c:pt>
                <c:pt idx="835">
                  <c:v>1.0370323016648555</c:v>
                </c:pt>
                <c:pt idx="836">
                  <c:v>1.0489304316325567</c:v>
                </c:pt>
                <c:pt idx="837">
                  <c:v>1.0418337153763961</c:v>
                </c:pt>
                <c:pt idx="838">
                  <c:v>1.0418337153763961</c:v>
                </c:pt>
                <c:pt idx="839">
                  <c:v>1.0401381138944954</c:v>
                </c:pt>
                <c:pt idx="840">
                  <c:v>1.0275740722137494</c:v>
                </c:pt>
                <c:pt idx="841">
                  <c:v>1.0149088119526206</c:v>
                </c:pt>
                <c:pt idx="842">
                  <c:v>1.03164336356192</c:v>
                </c:pt>
                <c:pt idx="843">
                  <c:v>1.0343892029455368</c:v>
                </c:pt>
                <c:pt idx="844">
                  <c:v>1.0343572391833107</c:v>
                </c:pt>
                <c:pt idx="845">
                  <c:v>1.0493185630310171</c:v>
                </c:pt>
                <c:pt idx="846">
                  <c:v>1.0515141690791698</c:v>
                </c:pt>
                <c:pt idx="847">
                  <c:v>1.0515141690791698</c:v>
                </c:pt>
                <c:pt idx="848">
                  <c:v>1.0496024316812635</c:v>
                </c:pt>
                <c:pt idx="849">
                  <c:v>1.0410323381948694</c:v>
                </c:pt>
                <c:pt idx="850">
                  <c:v>1.0396381093282434</c:v>
                </c:pt>
                <c:pt idx="851">
                  <c:v>1.0415224492156703</c:v>
                </c:pt>
                <c:pt idx="852">
                  <c:v>1.0472470068219801</c:v>
                </c:pt>
                <c:pt idx="853">
                  <c:v>1.0592912568455723</c:v>
                </c:pt>
                <c:pt idx="854">
                  <c:v>1.0760044992800544</c:v>
                </c:pt>
                <c:pt idx="855">
                  <c:v>1.0741117879310924</c:v>
                </c:pt>
                <c:pt idx="856">
                  <c:v>1.0841004636267608</c:v>
                </c:pt>
                <c:pt idx="857">
                  <c:v>1.0923722286657107</c:v>
                </c:pt>
                <c:pt idx="858">
                  <c:v>1.092705565043212</c:v>
                </c:pt>
                <c:pt idx="859">
                  <c:v>1.0702768975059134</c:v>
                </c:pt>
                <c:pt idx="860">
                  <c:v>1.0679557195347293</c:v>
                </c:pt>
                <c:pt idx="861">
                  <c:v>1.0699389948766658</c:v>
                </c:pt>
                <c:pt idx="862">
                  <c:v>1.0764603634127556</c:v>
                </c:pt>
                <c:pt idx="863">
                  <c:v>1.0751452829097374</c:v>
                </c:pt>
                <c:pt idx="864">
                  <c:v>1.0692723221216633</c:v>
                </c:pt>
                <c:pt idx="865">
                  <c:v>1.0895578955058951</c:v>
                </c:pt>
                <c:pt idx="866">
                  <c:v>1.0917923146938937</c:v>
                </c:pt>
                <c:pt idx="867">
                  <c:v>1.0870654830942139</c:v>
                </c:pt>
                <c:pt idx="868">
                  <c:v>1.0634381744734351</c:v>
                </c:pt>
                <c:pt idx="869">
                  <c:v>1.0623932638654234</c:v>
                </c:pt>
                <c:pt idx="870">
                  <c:v>1.0585515240626246</c:v>
                </c:pt>
                <c:pt idx="871">
                  <c:v>1.0650325573749533</c:v>
                </c:pt>
                <c:pt idx="872">
                  <c:v>1.0566550075038736</c:v>
                </c:pt>
                <c:pt idx="873">
                  <c:v>1.0443032965293444</c:v>
                </c:pt>
                <c:pt idx="874">
                  <c:v>1.0455186805358954</c:v>
                </c:pt>
                <c:pt idx="875">
                  <c:v>1.0384303357412701</c:v>
                </c:pt>
                <c:pt idx="876">
                  <c:v>1.0493497657512854</c:v>
                </c:pt>
                <c:pt idx="877">
                  <c:v>1.0373800978395542</c:v>
                </c:pt>
                <c:pt idx="878">
                  <c:v>1.0254758795361907</c:v>
                </c:pt>
                <c:pt idx="879">
                  <c:v>1.0134742478622332</c:v>
                </c:pt>
                <c:pt idx="880">
                  <c:v>1.0114841231426772</c:v>
                </c:pt>
                <c:pt idx="881">
                  <c:v>1.0272232318712196</c:v>
                </c:pt>
                <c:pt idx="882">
                  <c:v>1.0278533746122493</c:v>
                </c:pt>
                <c:pt idx="883">
                  <c:v>1.0442279533755257</c:v>
                </c:pt>
                <c:pt idx="884">
                  <c:v>1.0246646088092128</c:v>
                </c:pt>
                <c:pt idx="885">
                  <c:v>1.0343054883301828</c:v>
                </c:pt>
                <c:pt idx="886">
                  <c:v>1.0430178966626789</c:v>
                </c:pt>
                <c:pt idx="887">
                  <c:v>1.0611786409008301</c:v>
                </c:pt>
                <c:pt idx="888">
                  <c:v>1.0669283128917464</c:v>
                </c:pt>
                <c:pt idx="889">
                  <c:v>1.0681201045976068</c:v>
                </c:pt>
                <c:pt idx="890">
                  <c:v>1.0678803763809106</c:v>
                </c:pt>
                <c:pt idx="891">
                  <c:v>1.0678803763809106</c:v>
                </c:pt>
                <c:pt idx="892">
                  <c:v>1.06705312377282</c:v>
                </c:pt>
                <c:pt idx="893">
                  <c:v>1.055753172783922</c:v>
                </c:pt>
                <c:pt idx="894">
                  <c:v>1.0463436500181129</c:v>
                </c:pt>
                <c:pt idx="895">
                  <c:v>1.0473101733044747</c:v>
                </c:pt>
                <c:pt idx="896">
                  <c:v>1.0592098253560915</c:v>
                </c:pt>
                <c:pt idx="897">
                  <c:v>1.0482302730314128</c:v>
                </c:pt>
                <c:pt idx="898">
                  <c:v>1.0512721577366004</c:v>
                </c:pt>
                <c:pt idx="899">
                  <c:v>1.0598308355936279</c:v>
                </c:pt>
                <c:pt idx="900">
                  <c:v>1.0432621911311215</c:v>
                </c:pt>
                <c:pt idx="901">
                  <c:v>1.0434067891030969</c:v>
                </c:pt>
                <c:pt idx="902">
                  <c:v>1.0409676496284594</c:v>
                </c:pt>
                <c:pt idx="903">
                  <c:v>1.0250573064594197</c:v>
                </c:pt>
                <c:pt idx="904">
                  <c:v>1.0064011239067632</c:v>
                </c:pt>
                <c:pt idx="905">
                  <c:v>1.0054741748022051</c:v>
                </c:pt>
                <c:pt idx="906">
                  <c:v>1.010003135492866</c:v>
                </c:pt>
                <c:pt idx="907">
                  <c:v>0.9941955329881248</c:v>
                </c:pt>
                <c:pt idx="908">
                  <c:v>0.9964208196726303</c:v>
                </c:pt>
                <c:pt idx="909">
                  <c:v>1.0046727976206786</c:v>
                </c:pt>
                <c:pt idx="910">
                  <c:v>1.0262072408576031</c:v>
                </c:pt>
                <c:pt idx="911">
                  <c:v>1.0321890306456376</c:v>
                </c:pt>
                <c:pt idx="912">
                  <c:v>1.0395589609646361</c:v>
                </c:pt>
                <c:pt idx="913">
                  <c:v>1.0330550963935743</c:v>
                </c:pt>
                <c:pt idx="914">
                  <c:v>1.0203464567408531</c:v>
                </c:pt>
                <c:pt idx="915">
                  <c:v>1.0325802062119289</c:v>
                </c:pt>
                <c:pt idx="916">
                  <c:v>1.0299751595904987</c:v>
                </c:pt>
                <c:pt idx="917">
                  <c:v>1.0132740938273408</c:v>
                </c:pt>
                <c:pt idx="918">
                  <c:v>1.003523624264453</c:v>
                </c:pt>
                <c:pt idx="919">
                  <c:v>0.98812241816515833</c:v>
                </c:pt>
                <c:pt idx="920">
                  <c:v>0.99074953500336382</c:v>
                </c:pt>
                <c:pt idx="921">
                  <c:v>1</c:v>
                </c:pt>
              </c:numCache>
            </c:numRef>
          </c:val>
          <c:smooth val="0"/>
          <c:extLst>
            <c:ext xmlns:c16="http://schemas.microsoft.com/office/drawing/2014/chart" uri="{C3380CC4-5D6E-409C-BE32-E72D297353CC}">
              <c16:uniqueId val="{00000006-B9B2-4D69-9144-C8D4670E5D4F}"/>
            </c:ext>
          </c:extLst>
        </c:ser>
        <c:dLbls>
          <c:showLegendKey val="0"/>
          <c:showVal val="0"/>
          <c:showCatName val="0"/>
          <c:showSerName val="0"/>
          <c:showPercent val="0"/>
          <c:showBubbleSize val="0"/>
        </c:dLbls>
        <c:smooth val="0"/>
        <c:axId val="620478856"/>
        <c:axId val="952891696"/>
      </c:lineChart>
      <c:dateAx>
        <c:axId val="620478856"/>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zh-CN"/>
          </a:p>
        </c:txPr>
        <c:crossAx val="952891696"/>
        <c:crossesAt val="0"/>
        <c:auto val="1"/>
        <c:lblOffset val="100"/>
        <c:baseTimeUnit val="days"/>
      </c:dateAx>
      <c:valAx>
        <c:axId val="952891696"/>
        <c:scaling>
          <c:orientation val="minMax"/>
          <c:max val="4"/>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zh-CN"/>
          </a:p>
        </c:txPr>
        <c:crossAx val="620478856"/>
        <c:crosses val="autoZero"/>
        <c:crossBetween val="between"/>
        <c:majorUnit val="1"/>
        <c:minorUnit val="1"/>
      </c:valAx>
      <c:spPr>
        <a:noFill/>
        <a:ln>
          <a:noFill/>
        </a:ln>
        <a:effectLst/>
      </c:spPr>
    </c:plotArea>
    <c:legend>
      <c:legendPos val="b"/>
      <c:layout>
        <c:manualLayout>
          <c:xMode val="edge"/>
          <c:yMode val="edge"/>
          <c:x val="3.4724360307884339E-2"/>
          <c:y val="0.80493800877247168"/>
          <c:w val="0.96527563969211572"/>
          <c:h val="0.1616822679638325"/>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w="9525" cap="flat" cmpd="sng" algn="ctr">
      <a:solidFill>
        <a:schemeClr val="tx1">
          <a:lumMod val="15000"/>
          <a:lumOff val="85000"/>
        </a:schemeClr>
      </a:solidFill>
      <a:round/>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1:$A$9</c:f>
              <c:strCache>
                <c:ptCount val="9"/>
                <c:pt idx="0">
                  <c:v>2017</c:v>
                </c:pt>
                <c:pt idx="1">
                  <c:v>2018</c:v>
                </c:pt>
                <c:pt idx="2">
                  <c:v>2019</c:v>
                </c:pt>
                <c:pt idx="3">
                  <c:v>2020</c:v>
                </c:pt>
                <c:pt idx="4">
                  <c:v>2021</c:v>
                </c:pt>
                <c:pt idx="5">
                  <c:v>2022</c:v>
                </c:pt>
                <c:pt idx="6">
                  <c:v>2023E</c:v>
                </c:pt>
                <c:pt idx="7">
                  <c:v>2024E</c:v>
                </c:pt>
                <c:pt idx="8">
                  <c:v>2025E</c:v>
                </c:pt>
              </c:strCache>
            </c:strRef>
          </c:cat>
          <c:val>
            <c:numRef>
              <c:f>Sheet5!$B$1:$B$9</c:f>
              <c:numCache>
                <c:formatCode>General</c:formatCode>
                <c:ptCount val="9"/>
                <c:pt idx="0">
                  <c:v>0.7</c:v>
                </c:pt>
                <c:pt idx="1">
                  <c:v>1.2</c:v>
                </c:pt>
                <c:pt idx="2">
                  <c:v>1.9</c:v>
                </c:pt>
                <c:pt idx="3">
                  <c:v>2.4</c:v>
                </c:pt>
                <c:pt idx="4">
                  <c:v>3.1</c:v>
                </c:pt>
                <c:pt idx="5">
                  <c:v>3.6</c:v>
                </c:pt>
                <c:pt idx="6">
                  <c:v>4.3</c:v>
                </c:pt>
                <c:pt idx="7">
                  <c:v>5.8</c:v>
                </c:pt>
                <c:pt idx="8">
                  <c:v>6.6</c:v>
                </c:pt>
              </c:numCache>
            </c:numRef>
          </c:val>
          <c:extLst>
            <c:ext xmlns:c16="http://schemas.microsoft.com/office/drawing/2014/chart" uri="{C3380CC4-5D6E-409C-BE32-E72D297353CC}">
              <c16:uniqueId val="{00000000-58AC-4F8C-BB52-94C092217ADC}"/>
            </c:ext>
          </c:extLst>
        </c:ser>
        <c:dLbls>
          <c:showLegendKey val="0"/>
          <c:showVal val="0"/>
          <c:showCatName val="0"/>
          <c:showSerName val="0"/>
          <c:showPercent val="0"/>
          <c:showBubbleSize val="0"/>
        </c:dLbls>
        <c:gapWidth val="219"/>
        <c:overlap val="-27"/>
        <c:axId val="735491064"/>
        <c:axId val="735489096"/>
      </c:barChart>
      <c:catAx>
        <c:axId val="735491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zh-CN"/>
          </a:p>
        </c:txPr>
        <c:crossAx val="735489096"/>
        <c:crosses val="autoZero"/>
        <c:auto val="1"/>
        <c:lblAlgn val="ctr"/>
        <c:lblOffset val="100"/>
        <c:noMultiLvlLbl val="0"/>
      </c:catAx>
      <c:valAx>
        <c:axId val="7354890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zh-CN"/>
          </a:p>
        </c:txPr>
        <c:crossAx val="735491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6!$A$1:$A$12</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Sheet6!$B$1:$B$12</c:f>
              <c:numCache>
                <c:formatCode>General</c:formatCode>
                <c:ptCount val="12"/>
                <c:pt idx="0">
                  <c:v>98</c:v>
                </c:pt>
                <c:pt idx="1">
                  <c:v>110</c:v>
                </c:pt>
                <c:pt idx="2">
                  <c:v>115</c:v>
                </c:pt>
                <c:pt idx="3">
                  <c:v>125</c:v>
                </c:pt>
                <c:pt idx="4">
                  <c:v>128</c:v>
                </c:pt>
                <c:pt idx="5">
                  <c:v>129</c:v>
                </c:pt>
                <c:pt idx="6">
                  <c:v>130</c:v>
                </c:pt>
                <c:pt idx="7">
                  <c:v>150</c:v>
                </c:pt>
                <c:pt idx="8">
                  <c:v>175</c:v>
                </c:pt>
                <c:pt idx="9">
                  <c:v>210</c:v>
                </c:pt>
                <c:pt idx="10">
                  <c:v>260</c:v>
                </c:pt>
                <c:pt idx="11">
                  <c:v>293</c:v>
                </c:pt>
              </c:numCache>
            </c:numRef>
          </c:val>
          <c:extLst>
            <c:ext xmlns:c16="http://schemas.microsoft.com/office/drawing/2014/chart" uri="{C3380CC4-5D6E-409C-BE32-E72D297353CC}">
              <c16:uniqueId val="{00000000-52CD-4E26-A69D-2604B8C459EB}"/>
            </c:ext>
          </c:extLst>
        </c:ser>
        <c:dLbls>
          <c:showLegendKey val="0"/>
          <c:showVal val="0"/>
          <c:showCatName val="0"/>
          <c:showSerName val="0"/>
          <c:showPercent val="0"/>
          <c:showBubbleSize val="0"/>
        </c:dLbls>
        <c:gapWidth val="219"/>
        <c:overlap val="-27"/>
        <c:axId val="100491648"/>
        <c:axId val="100491976"/>
      </c:barChart>
      <c:catAx>
        <c:axId val="100491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zh-CN"/>
          </a:p>
        </c:txPr>
        <c:crossAx val="100491976"/>
        <c:crosses val="autoZero"/>
        <c:auto val="1"/>
        <c:lblAlgn val="ctr"/>
        <c:lblOffset val="100"/>
        <c:noMultiLvlLbl val="0"/>
      </c:catAx>
      <c:valAx>
        <c:axId val="1004919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zh-CN"/>
          </a:p>
        </c:txPr>
        <c:crossAx val="100491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358705161854772E-2"/>
          <c:y val="0.18039370078740158"/>
          <c:w val="0.90286351706036749"/>
          <c:h val="0.66135024788568098"/>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7!$A$1:$A$8</c:f>
              <c:strCache>
                <c:ptCount val="8"/>
                <c:pt idx="0">
                  <c:v>Goolge Translate</c:v>
                </c:pt>
                <c:pt idx="1">
                  <c:v>Uber</c:v>
                </c:pt>
                <c:pt idx="2">
                  <c:v>Telegram</c:v>
                </c:pt>
                <c:pt idx="3">
                  <c:v>Spotify</c:v>
                </c:pt>
                <c:pt idx="4">
                  <c:v>Pinterest</c:v>
                </c:pt>
                <c:pt idx="5">
                  <c:v>Instgram</c:v>
                </c:pt>
                <c:pt idx="6">
                  <c:v>TikTok</c:v>
                </c:pt>
                <c:pt idx="7">
                  <c:v>ChatGPT</c:v>
                </c:pt>
              </c:strCache>
            </c:strRef>
          </c:cat>
          <c:val>
            <c:numRef>
              <c:f>Sheet7!$B$1:$B$8</c:f>
              <c:numCache>
                <c:formatCode>General</c:formatCode>
                <c:ptCount val="8"/>
                <c:pt idx="0">
                  <c:v>78</c:v>
                </c:pt>
                <c:pt idx="1">
                  <c:v>70</c:v>
                </c:pt>
                <c:pt idx="2">
                  <c:v>61</c:v>
                </c:pt>
                <c:pt idx="3">
                  <c:v>55</c:v>
                </c:pt>
                <c:pt idx="4">
                  <c:v>41</c:v>
                </c:pt>
                <c:pt idx="5">
                  <c:v>30</c:v>
                </c:pt>
                <c:pt idx="6">
                  <c:v>9</c:v>
                </c:pt>
                <c:pt idx="7">
                  <c:v>2</c:v>
                </c:pt>
              </c:numCache>
            </c:numRef>
          </c:val>
          <c:extLst>
            <c:ext xmlns:c16="http://schemas.microsoft.com/office/drawing/2014/chart" uri="{C3380CC4-5D6E-409C-BE32-E72D297353CC}">
              <c16:uniqueId val="{00000000-915D-49DA-9950-946195F4520B}"/>
            </c:ext>
          </c:extLst>
        </c:ser>
        <c:dLbls>
          <c:dLblPos val="outEnd"/>
          <c:showLegendKey val="0"/>
          <c:showVal val="1"/>
          <c:showCatName val="0"/>
          <c:showSerName val="0"/>
          <c:showPercent val="0"/>
          <c:showBubbleSize val="0"/>
        </c:dLbls>
        <c:gapWidth val="219"/>
        <c:overlap val="-27"/>
        <c:axId val="100493288"/>
        <c:axId val="100492304"/>
      </c:barChart>
      <c:catAx>
        <c:axId val="100493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zh-CN"/>
          </a:p>
        </c:txPr>
        <c:crossAx val="100492304"/>
        <c:crosses val="autoZero"/>
        <c:auto val="1"/>
        <c:lblAlgn val="ctr"/>
        <c:lblOffset val="100"/>
        <c:noMultiLvlLbl val="0"/>
      </c:catAx>
      <c:valAx>
        <c:axId val="100492304"/>
        <c:scaling>
          <c:orientation val="minMax"/>
        </c:scaling>
        <c:delete val="1"/>
        <c:axPos val="l"/>
        <c:numFmt formatCode="General" sourceLinked="1"/>
        <c:majorTickMark val="none"/>
        <c:minorTickMark val="none"/>
        <c:tickLblPos val="nextTo"/>
        <c:crossAx val="10049328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E66B3F-6B6F-4ED9-B611-AE5B2AC5E431}"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CF0B67B3-82A7-42D5-A452-804C57363226}">
      <dgm:prSet phldrT="[Text]" custT="1"/>
      <dgm:spPr/>
      <dgm:t>
        <a:bodyPr/>
        <a:lstStyle/>
        <a:p>
          <a:r>
            <a:rPr lang="zh-CN" alt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投中：多维度</a:t>
          </a:r>
          <a:endParaRPr lang="en-US" altLang="zh-CN"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r>
            <a:rPr lang="en-US" sz="1200" b="1" kern="1200" dirty="0" err="1">
              <a:solidFill>
                <a:prstClr val="black"/>
              </a:solidFill>
              <a:latin typeface="微软雅黑" panose="020B0503020204020204" pitchFamily="34" charset="-122"/>
              <a:ea typeface="微软雅黑" panose="020B0503020204020204" pitchFamily="34" charset="-122"/>
              <a:cs typeface="Arial" panose="020B0604020202020204" pitchFamily="34" charset="0"/>
            </a:rPr>
            <a:t>尽职调查</a:t>
          </a:r>
          <a:endParaRPr 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dgm:t>
    </dgm:pt>
    <dgm:pt modelId="{36D35C42-4A01-4868-81A7-A29C895E6AB3}" type="parTrans" cxnId="{82E8A0EF-3D93-4E84-B8A6-01C4F43B65C2}">
      <dgm:prSet/>
      <dgm:spPr/>
      <dgm:t>
        <a:bodyPr/>
        <a:lstStyle/>
        <a:p>
          <a:endParaRPr lang="en-US" sz="1100"/>
        </a:p>
      </dgm:t>
    </dgm:pt>
    <dgm:pt modelId="{3E46265D-9D49-4DF7-AC49-368B977666F3}" type="sibTrans" cxnId="{82E8A0EF-3D93-4E84-B8A6-01C4F43B65C2}">
      <dgm:prSet/>
      <dgm:spPr>
        <a:solidFill>
          <a:schemeClr val="accent1"/>
        </a:solidFill>
      </dgm:spPr>
      <dgm:t>
        <a:bodyPr/>
        <a:lstStyle/>
        <a:p>
          <a:endParaRPr lang="en-US" sz="1100"/>
        </a:p>
      </dgm:t>
    </dgm:pt>
    <dgm:pt modelId="{E408D930-5BE3-4998-ACD3-83965CC521C9}">
      <dgm:prSet phldrT="[Text]" custT="1"/>
      <dgm:spPr/>
      <dgm:t>
        <a:bodyPr/>
        <a:lstStyle/>
        <a:p>
          <a:r>
            <a:rPr lang="zh-CN" altLang="en-US" sz="1100" b="1" kern="1200" dirty="0">
              <a:solidFill>
                <a:schemeClr val="accent3"/>
              </a:solidFill>
              <a:latin typeface="微软雅黑" panose="020B0503020204020204" pitchFamily="34" charset="-122"/>
              <a:ea typeface="微软雅黑" panose="020B0503020204020204" pitchFamily="34" charset="-122"/>
            </a:rPr>
            <a:t> </a:t>
          </a:r>
          <a:r>
            <a:rPr lang="zh-CN" alt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投后：社区运营与赋能</a:t>
          </a:r>
          <a:endParaRPr 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dgm:t>
    </dgm:pt>
    <dgm:pt modelId="{1F8FF42A-D6F8-411D-B84A-997C8441CA9A}" type="parTrans" cxnId="{2D64CDE6-0D3B-4E36-AE3C-9D18691B10E5}">
      <dgm:prSet/>
      <dgm:spPr/>
      <dgm:t>
        <a:bodyPr/>
        <a:lstStyle/>
        <a:p>
          <a:endParaRPr lang="en-US" sz="1100"/>
        </a:p>
      </dgm:t>
    </dgm:pt>
    <dgm:pt modelId="{29BF35AD-B8A3-428B-812C-7A2FDB2FFC86}" type="sibTrans" cxnId="{2D64CDE6-0D3B-4E36-AE3C-9D18691B10E5}">
      <dgm:prSet/>
      <dgm:spPr>
        <a:solidFill>
          <a:schemeClr val="accent1"/>
        </a:solidFill>
      </dgm:spPr>
      <dgm:t>
        <a:bodyPr/>
        <a:lstStyle/>
        <a:p>
          <a:endParaRPr lang="en-US" sz="1100"/>
        </a:p>
      </dgm:t>
    </dgm:pt>
    <dgm:pt modelId="{80B1E4E6-C170-45E4-951D-6CD3BBC216A5}">
      <dgm:prSet phldrT="[Text]" custT="1"/>
      <dgm:spPr/>
      <dgm:t>
        <a:bodyPr/>
        <a:lstStyle/>
        <a:p>
          <a:r>
            <a:rPr lang="zh-CN" altLang="en-US" sz="1200" b="1"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投前：</a:t>
          </a:r>
          <a:r>
            <a:rPr lang="en-US" sz="1200" b="1" dirty="0" err="1">
              <a:solidFill>
                <a:schemeClr val="tx1"/>
              </a:solidFill>
              <a:latin typeface="微软雅黑" panose="020B0503020204020204" pitchFamily="34" charset="-122"/>
              <a:ea typeface="微软雅黑" panose="020B0503020204020204" pitchFamily="34" charset="-122"/>
              <a:cs typeface="Arial" panose="020B0604020202020204" pitchFamily="34" charset="0"/>
            </a:rPr>
            <a:t>深入的</a:t>
          </a:r>
          <a:endParaRPr lang="en-US" sz="1200" b="1"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r>
            <a:rPr lang="en-US" sz="1200" b="1" dirty="0" err="1">
              <a:solidFill>
                <a:schemeClr val="tx1"/>
              </a:solidFill>
              <a:latin typeface="微软雅黑" panose="020B0503020204020204" pitchFamily="34" charset="-122"/>
              <a:ea typeface="微软雅黑" panose="020B0503020204020204" pitchFamily="34" charset="-122"/>
              <a:cs typeface="Arial" panose="020B0604020202020204" pitchFamily="34" charset="0"/>
            </a:rPr>
            <a:t>行业研究</a:t>
          </a:r>
          <a:endParaRPr lang="en-US" sz="1200" b="1"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dgm:t>
    </dgm:pt>
    <dgm:pt modelId="{D3109D6F-5F00-4A76-9169-5F65559A301B}" type="parTrans" cxnId="{AF277411-535A-4FC3-A492-1AC8C448CA32}">
      <dgm:prSet/>
      <dgm:spPr/>
      <dgm:t>
        <a:bodyPr/>
        <a:lstStyle/>
        <a:p>
          <a:endParaRPr lang="en-US" sz="1100"/>
        </a:p>
      </dgm:t>
    </dgm:pt>
    <dgm:pt modelId="{0B4CF440-A491-4418-B857-12890CF6F611}" type="sibTrans" cxnId="{AF277411-535A-4FC3-A492-1AC8C448CA32}">
      <dgm:prSet/>
      <dgm:spPr>
        <a:solidFill>
          <a:schemeClr val="accent1"/>
        </a:solidFill>
      </dgm:spPr>
      <dgm:t>
        <a:bodyPr/>
        <a:lstStyle/>
        <a:p>
          <a:endParaRPr lang="en-US" sz="1100"/>
        </a:p>
      </dgm:t>
    </dgm:pt>
    <dgm:pt modelId="{F20B1686-6A81-422C-B42C-298C41180224}" type="pres">
      <dgm:prSet presAssocID="{1CE66B3F-6B6F-4ED9-B611-AE5B2AC5E431}" presName="cycle" presStyleCnt="0">
        <dgm:presLayoutVars>
          <dgm:dir/>
          <dgm:resizeHandles val="exact"/>
        </dgm:presLayoutVars>
      </dgm:prSet>
      <dgm:spPr/>
    </dgm:pt>
    <dgm:pt modelId="{D98EA905-8AB3-4BE4-8C38-215068BDF201}" type="pres">
      <dgm:prSet presAssocID="{CF0B67B3-82A7-42D5-A452-804C57363226}" presName="dummy" presStyleCnt="0"/>
      <dgm:spPr/>
    </dgm:pt>
    <dgm:pt modelId="{A97B35B8-6B71-4B0F-9E54-E26AF8BBEC40}" type="pres">
      <dgm:prSet presAssocID="{CF0B67B3-82A7-42D5-A452-804C57363226}" presName="node" presStyleLbl="revTx" presStyleIdx="0" presStyleCnt="3" custScaleX="145681">
        <dgm:presLayoutVars>
          <dgm:bulletEnabled val="1"/>
        </dgm:presLayoutVars>
      </dgm:prSet>
      <dgm:spPr/>
    </dgm:pt>
    <dgm:pt modelId="{876514A5-31A1-4E62-991E-CB5022633CEC}" type="pres">
      <dgm:prSet presAssocID="{3E46265D-9D49-4DF7-AC49-368B977666F3}" presName="sibTrans" presStyleLbl="node1" presStyleIdx="0" presStyleCnt="3"/>
      <dgm:spPr/>
    </dgm:pt>
    <dgm:pt modelId="{BB24A01D-DCEC-4B18-974D-1AAB84AB4DFE}" type="pres">
      <dgm:prSet presAssocID="{E408D930-5BE3-4998-ACD3-83965CC521C9}" presName="dummy" presStyleCnt="0"/>
      <dgm:spPr/>
    </dgm:pt>
    <dgm:pt modelId="{A0EFA7F8-70EA-418B-885F-D9839F2499C7}" type="pres">
      <dgm:prSet presAssocID="{E408D930-5BE3-4998-ACD3-83965CC521C9}" presName="node" presStyleLbl="revTx" presStyleIdx="1" presStyleCnt="3" custRadScaleRad="94090" custRadScaleInc="-526">
        <dgm:presLayoutVars>
          <dgm:bulletEnabled val="1"/>
        </dgm:presLayoutVars>
      </dgm:prSet>
      <dgm:spPr/>
    </dgm:pt>
    <dgm:pt modelId="{6DAC5EFB-5B2B-4FB5-9991-34FE4AF1B8A6}" type="pres">
      <dgm:prSet presAssocID="{29BF35AD-B8A3-428B-812C-7A2FDB2FFC86}" presName="sibTrans" presStyleLbl="node1" presStyleIdx="1" presStyleCnt="3"/>
      <dgm:spPr/>
    </dgm:pt>
    <dgm:pt modelId="{15ECAB91-3FA9-4A4A-8B94-FAAAF8D67904}" type="pres">
      <dgm:prSet presAssocID="{80B1E4E6-C170-45E4-951D-6CD3BBC216A5}" presName="dummy" presStyleCnt="0"/>
      <dgm:spPr/>
    </dgm:pt>
    <dgm:pt modelId="{AEF42A91-7466-412C-BAF3-4AD84DFF8E63}" type="pres">
      <dgm:prSet presAssocID="{80B1E4E6-C170-45E4-951D-6CD3BBC216A5}" presName="node" presStyleLbl="revTx" presStyleIdx="2" presStyleCnt="3">
        <dgm:presLayoutVars>
          <dgm:bulletEnabled val="1"/>
        </dgm:presLayoutVars>
      </dgm:prSet>
      <dgm:spPr/>
    </dgm:pt>
    <dgm:pt modelId="{78E0BC02-55A5-460E-8BE3-310527CAF91D}" type="pres">
      <dgm:prSet presAssocID="{0B4CF440-A491-4418-B857-12890CF6F611}" presName="sibTrans" presStyleLbl="node1" presStyleIdx="2" presStyleCnt="3" custScaleX="148046" custScaleY="99163"/>
      <dgm:spPr/>
    </dgm:pt>
  </dgm:ptLst>
  <dgm:cxnLst>
    <dgm:cxn modelId="{AF277411-535A-4FC3-A492-1AC8C448CA32}" srcId="{1CE66B3F-6B6F-4ED9-B611-AE5B2AC5E431}" destId="{80B1E4E6-C170-45E4-951D-6CD3BBC216A5}" srcOrd="2" destOrd="0" parTransId="{D3109D6F-5F00-4A76-9169-5F65559A301B}" sibTransId="{0B4CF440-A491-4418-B857-12890CF6F611}"/>
    <dgm:cxn modelId="{0E5ECD1A-32C0-4C63-9903-CD1625972546}" type="presOf" srcId="{CF0B67B3-82A7-42D5-A452-804C57363226}" destId="{A97B35B8-6B71-4B0F-9E54-E26AF8BBEC40}" srcOrd="0" destOrd="0" presId="urn:microsoft.com/office/officeart/2005/8/layout/cycle1"/>
    <dgm:cxn modelId="{FDBD5A1D-3459-4198-80F0-288C8EF5B7BD}" type="presOf" srcId="{80B1E4E6-C170-45E4-951D-6CD3BBC216A5}" destId="{AEF42A91-7466-412C-BAF3-4AD84DFF8E63}" srcOrd="0" destOrd="0" presId="urn:microsoft.com/office/officeart/2005/8/layout/cycle1"/>
    <dgm:cxn modelId="{FC838D1D-D25F-41F6-ABE7-F4B57FB9C9F3}" type="presOf" srcId="{3E46265D-9D49-4DF7-AC49-368B977666F3}" destId="{876514A5-31A1-4E62-991E-CB5022633CEC}" srcOrd="0" destOrd="0" presId="urn:microsoft.com/office/officeart/2005/8/layout/cycle1"/>
    <dgm:cxn modelId="{B790D53F-7F3C-4792-AAD6-DD8180406A25}" type="presOf" srcId="{1CE66B3F-6B6F-4ED9-B611-AE5B2AC5E431}" destId="{F20B1686-6A81-422C-B42C-298C41180224}" srcOrd="0" destOrd="0" presId="urn:microsoft.com/office/officeart/2005/8/layout/cycle1"/>
    <dgm:cxn modelId="{F5757F59-DF32-4685-8092-3781815A4700}" type="presOf" srcId="{E408D930-5BE3-4998-ACD3-83965CC521C9}" destId="{A0EFA7F8-70EA-418B-885F-D9839F2499C7}" srcOrd="0" destOrd="0" presId="urn:microsoft.com/office/officeart/2005/8/layout/cycle1"/>
    <dgm:cxn modelId="{458825C2-0C08-4291-8D68-0AB7AC05EF78}" type="presOf" srcId="{0B4CF440-A491-4418-B857-12890CF6F611}" destId="{78E0BC02-55A5-460E-8BE3-310527CAF91D}" srcOrd="0" destOrd="0" presId="urn:microsoft.com/office/officeart/2005/8/layout/cycle1"/>
    <dgm:cxn modelId="{8FF826D2-1A5D-48FF-9BE8-86BD9B75504C}" type="presOf" srcId="{29BF35AD-B8A3-428B-812C-7A2FDB2FFC86}" destId="{6DAC5EFB-5B2B-4FB5-9991-34FE4AF1B8A6}" srcOrd="0" destOrd="0" presId="urn:microsoft.com/office/officeart/2005/8/layout/cycle1"/>
    <dgm:cxn modelId="{2D64CDE6-0D3B-4E36-AE3C-9D18691B10E5}" srcId="{1CE66B3F-6B6F-4ED9-B611-AE5B2AC5E431}" destId="{E408D930-5BE3-4998-ACD3-83965CC521C9}" srcOrd="1" destOrd="0" parTransId="{1F8FF42A-D6F8-411D-B84A-997C8441CA9A}" sibTransId="{29BF35AD-B8A3-428B-812C-7A2FDB2FFC86}"/>
    <dgm:cxn modelId="{82E8A0EF-3D93-4E84-B8A6-01C4F43B65C2}" srcId="{1CE66B3F-6B6F-4ED9-B611-AE5B2AC5E431}" destId="{CF0B67B3-82A7-42D5-A452-804C57363226}" srcOrd="0" destOrd="0" parTransId="{36D35C42-4A01-4868-81A7-A29C895E6AB3}" sibTransId="{3E46265D-9D49-4DF7-AC49-368B977666F3}"/>
    <dgm:cxn modelId="{2C1E4810-D693-43FD-94E5-F5A3B1A3F9C6}" type="presParOf" srcId="{F20B1686-6A81-422C-B42C-298C41180224}" destId="{D98EA905-8AB3-4BE4-8C38-215068BDF201}" srcOrd="0" destOrd="0" presId="urn:microsoft.com/office/officeart/2005/8/layout/cycle1"/>
    <dgm:cxn modelId="{A5099479-64A1-4C7C-85A2-ABDEF9498388}" type="presParOf" srcId="{F20B1686-6A81-422C-B42C-298C41180224}" destId="{A97B35B8-6B71-4B0F-9E54-E26AF8BBEC40}" srcOrd="1" destOrd="0" presId="urn:microsoft.com/office/officeart/2005/8/layout/cycle1"/>
    <dgm:cxn modelId="{18842869-A6ED-46E4-B18F-1024425166A5}" type="presParOf" srcId="{F20B1686-6A81-422C-B42C-298C41180224}" destId="{876514A5-31A1-4E62-991E-CB5022633CEC}" srcOrd="2" destOrd="0" presId="urn:microsoft.com/office/officeart/2005/8/layout/cycle1"/>
    <dgm:cxn modelId="{C72A1DB1-DDAB-4D1F-BE00-E911883507F8}" type="presParOf" srcId="{F20B1686-6A81-422C-B42C-298C41180224}" destId="{BB24A01D-DCEC-4B18-974D-1AAB84AB4DFE}" srcOrd="3" destOrd="0" presId="urn:microsoft.com/office/officeart/2005/8/layout/cycle1"/>
    <dgm:cxn modelId="{82C5999B-14B0-45EE-B505-615A99A884BB}" type="presParOf" srcId="{F20B1686-6A81-422C-B42C-298C41180224}" destId="{A0EFA7F8-70EA-418B-885F-D9839F2499C7}" srcOrd="4" destOrd="0" presId="urn:microsoft.com/office/officeart/2005/8/layout/cycle1"/>
    <dgm:cxn modelId="{B59CFBA8-E77A-4956-BBE5-05743E9B121E}" type="presParOf" srcId="{F20B1686-6A81-422C-B42C-298C41180224}" destId="{6DAC5EFB-5B2B-4FB5-9991-34FE4AF1B8A6}" srcOrd="5" destOrd="0" presId="urn:microsoft.com/office/officeart/2005/8/layout/cycle1"/>
    <dgm:cxn modelId="{B5095E8A-28F2-462D-B2CF-FBA1E226C405}" type="presParOf" srcId="{F20B1686-6A81-422C-B42C-298C41180224}" destId="{15ECAB91-3FA9-4A4A-8B94-FAAAF8D67904}" srcOrd="6" destOrd="0" presId="urn:microsoft.com/office/officeart/2005/8/layout/cycle1"/>
    <dgm:cxn modelId="{53905961-2FC8-4D47-8F79-FD7E581A55C6}" type="presParOf" srcId="{F20B1686-6A81-422C-B42C-298C41180224}" destId="{AEF42A91-7466-412C-BAF3-4AD84DFF8E63}" srcOrd="7" destOrd="0" presId="urn:microsoft.com/office/officeart/2005/8/layout/cycle1"/>
    <dgm:cxn modelId="{C6B804FF-AA78-466C-A89C-799DEFE3233C}" type="presParOf" srcId="{F20B1686-6A81-422C-B42C-298C41180224}" destId="{78E0BC02-55A5-460E-8BE3-310527CAF91D}" srcOrd="8" destOrd="0" presId="urn:microsoft.com/office/officeart/2005/8/layout/cycle1"/>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7B35B8-6B71-4B0F-9E54-E26AF8BBEC40}">
      <dsp:nvSpPr>
        <dsp:cNvPr id="0" name=""/>
        <dsp:cNvSpPr/>
      </dsp:nvSpPr>
      <dsp:spPr>
        <a:xfrm>
          <a:off x="2840661" y="247083"/>
          <a:ext cx="1840684" cy="1263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投中：多维度</a:t>
          </a:r>
          <a:endParaRPr lang="en-US" altLang="zh-CN"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0" lvl="0" indent="0" algn="ctr" defTabSz="533400">
            <a:lnSpc>
              <a:spcPct val="90000"/>
            </a:lnSpc>
            <a:spcBef>
              <a:spcPct val="0"/>
            </a:spcBef>
            <a:spcAft>
              <a:spcPct val="35000"/>
            </a:spcAft>
            <a:buNone/>
          </a:pPr>
          <a:r>
            <a:rPr lang="en-US" sz="1200" b="1" kern="1200" dirty="0" err="1">
              <a:solidFill>
                <a:prstClr val="black"/>
              </a:solidFill>
              <a:latin typeface="微软雅黑" panose="020B0503020204020204" pitchFamily="34" charset="-122"/>
              <a:ea typeface="微软雅黑" panose="020B0503020204020204" pitchFamily="34" charset="-122"/>
              <a:cs typeface="Arial" panose="020B0604020202020204" pitchFamily="34" charset="0"/>
            </a:rPr>
            <a:t>尽职调查</a:t>
          </a:r>
          <a:endParaRPr 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dsp:txBody>
      <dsp:txXfrm>
        <a:off x="2840661" y="247083"/>
        <a:ext cx="1840684" cy="1263503"/>
      </dsp:txXfrm>
    </dsp:sp>
    <dsp:sp modelId="{876514A5-31A1-4E62-991E-CB5022633CEC}">
      <dsp:nvSpPr>
        <dsp:cNvPr id="0" name=""/>
        <dsp:cNvSpPr/>
      </dsp:nvSpPr>
      <dsp:spPr>
        <a:xfrm>
          <a:off x="1210955" y="-89571"/>
          <a:ext cx="2985770" cy="2985770"/>
        </a:xfrm>
        <a:prstGeom prst="circularArrow">
          <a:avLst>
            <a:gd name="adj1" fmla="val 8252"/>
            <a:gd name="adj2" fmla="val 576412"/>
            <a:gd name="adj3" fmla="val 2963563"/>
            <a:gd name="adj4" fmla="val 301192"/>
            <a:gd name="adj5" fmla="val 9627"/>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EFA7F8-70EA-418B-885F-D9839F2499C7}">
      <dsp:nvSpPr>
        <dsp:cNvPr id="0" name=""/>
        <dsp:cNvSpPr/>
      </dsp:nvSpPr>
      <dsp:spPr>
        <a:xfrm>
          <a:off x="2071766" y="2013576"/>
          <a:ext cx="1263503" cy="1263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zh-CN" altLang="en-US" sz="1100" b="1" kern="1200" dirty="0">
              <a:solidFill>
                <a:schemeClr val="accent3"/>
              </a:solidFill>
              <a:latin typeface="微软雅黑" panose="020B0503020204020204" pitchFamily="34" charset="-122"/>
              <a:ea typeface="微软雅黑" panose="020B0503020204020204" pitchFamily="34" charset="-122"/>
            </a:rPr>
            <a:t> </a:t>
          </a:r>
          <a:r>
            <a:rPr lang="zh-CN" alt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投后：社区运营与赋能</a:t>
          </a:r>
          <a:endParaRPr lang="en-US" sz="1200" b="1" kern="120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dsp:txBody>
      <dsp:txXfrm>
        <a:off x="2071766" y="2013576"/>
        <a:ext cx="1263503" cy="1263503"/>
      </dsp:txXfrm>
    </dsp:sp>
    <dsp:sp modelId="{6DAC5EFB-5B2B-4FB5-9991-34FE4AF1B8A6}">
      <dsp:nvSpPr>
        <dsp:cNvPr id="0" name=""/>
        <dsp:cNvSpPr/>
      </dsp:nvSpPr>
      <dsp:spPr>
        <a:xfrm>
          <a:off x="1201884" y="-89043"/>
          <a:ext cx="2985770" cy="2985770"/>
        </a:xfrm>
        <a:prstGeom prst="circularArrow">
          <a:avLst>
            <a:gd name="adj1" fmla="val 8252"/>
            <a:gd name="adj2" fmla="val 576412"/>
            <a:gd name="adj3" fmla="val 9923885"/>
            <a:gd name="adj4" fmla="val 7232528"/>
            <a:gd name="adj5" fmla="val 9627"/>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F42A91-7466-412C-BAF3-4AD84DFF8E63}">
      <dsp:nvSpPr>
        <dsp:cNvPr id="0" name=""/>
        <dsp:cNvSpPr/>
      </dsp:nvSpPr>
      <dsp:spPr>
        <a:xfrm>
          <a:off x="1005808" y="247083"/>
          <a:ext cx="1263503" cy="1263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b="1" kern="12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投前：</a:t>
          </a:r>
          <a:r>
            <a:rPr lang="en-US" sz="1200" b="1" kern="1200" dirty="0" err="1">
              <a:solidFill>
                <a:schemeClr val="tx1"/>
              </a:solidFill>
              <a:latin typeface="微软雅黑" panose="020B0503020204020204" pitchFamily="34" charset="-122"/>
              <a:ea typeface="微软雅黑" panose="020B0503020204020204" pitchFamily="34" charset="-122"/>
              <a:cs typeface="Arial" panose="020B0604020202020204" pitchFamily="34" charset="0"/>
            </a:rPr>
            <a:t>深入的</a:t>
          </a:r>
          <a:endParaRPr lang="en-US" sz="1200" b="1" kern="12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0" lvl="0" indent="0" algn="ctr" defTabSz="533400">
            <a:lnSpc>
              <a:spcPct val="90000"/>
            </a:lnSpc>
            <a:spcBef>
              <a:spcPct val="0"/>
            </a:spcBef>
            <a:spcAft>
              <a:spcPct val="35000"/>
            </a:spcAft>
            <a:buNone/>
          </a:pPr>
          <a:r>
            <a:rPr lang="en-US" sz="1200" b="1" kern="1200" dirty="0" err="1">
              <a:solidFill>
                <a:schemeClr val="tx1"/>
              </a:solidFill>
              <a:latin typeface="微软雅黑" panose="020B0503020204020204" pitchFamily="34" charset="-122"/>
              <a:ea typeface="微软雅黑" panose="020B0503020204020204" pitchFamily="34" charset="-122"/>
              <a:cs typeface="Arial" panose="020B0604020202020204" pitchFamily="34" charset="0"/>
            </a:rPr>
            <a:t>行业研究</a:t>
          </a:r>
          <a:endParaRPr lang="en-US" sz="1200" b="1" kern="12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dsp:txBody>
      <dsp:txXfrm>
        <a:off x="1005808" y="247083"/>
        <a:ext cx="1263503" cy="1263503"/>
      </dsp:txXfrm>
    </dsp:sp>
    <dsp:sp modelId="{78E0BC02-55A5-460E-8BE3-310527CAF91D}">
      <dsp:nvSpPr>
        <dsp:cNvPr id="0" name=""/>
        <dsp:cNvSpPr/>
      </dsp:nvSpPr>
      <dsp:spPr>
        <a:xfrm>
          <a:off x="489125" y="11430"/>
          <a:ext cx="4420314" cy="2960779"/>
        </a:xfrm>
        <a:prstGeom prst="circularArrow">
          <a:avLst>
            <a:gd name="adj1" fmla="val 8252"/>
            <a:gd name="adj2" fmla="val 576412"/>
            <a:gd name="adj3" fmla="val 16020914"/>
            <a:gd name="adj4" fmla="val 14968127"/>
            <a:gd name="adj5" fmla="val 9627"/>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6C20CB-3250-4EB1-88FD-D95887C63C53}" type="datetimeFigureOut">
              <a:rPr lang="zh-CN" altLang="en-US" smtClean="0"/>
              <a:t>2023/10/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AF1ADF-B09C-4EA2-B027-1DD176C989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b5dac8b9-7867-4ffb-a960-1f59e235b393.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2</a:t>
            </a:fld>
            <a:endParaRPr lang="zh-CN" altLang="en-US"/>
          </a:p>
        </p:txBody>
      </p:sp>
    </p:spTree>
    <p:extLst>
      <p:ext uri="{BB962C8B-B14F-4D97-AF65-F5344CB8AC3E}">
        <p14:creationId xmlns:p14="http://schemas.microsoft.com/office/powerpoint/2010/main" val="2032268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6.pn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2.png"/><Relationship Id="rId2" Type="http://schemas.openxmlformats.org/officeDocument/2006/relationships/tags" Target="../tags/tag21.xml"/><Relationship Id="rId16" Type="http://schemas.openxmlformats.org/officeDocument/2006/relationships/image" Target="../media/image5.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image" Target="../media/image10.png"/><Relationship Id="rId10" Type="http://schemas.openxmlformats.org/officeDocument/2006/relationships/tags" Target="../tags/tag29.xml"/><Relationship Id="rId19" Type="http://schemas.openxmlformats.org/officeDocument/2006/relationships/image" Target="../media/image7.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自定义版式">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56920" y="2160905"/>
            <a:ext cx="6134735" cy="1325880"/>
          </a:xfrm>
        </p:spPr>
        <p:txBody>
          <a:bodyPr/>
          <a:lstStyle>
            <a:lvl1pPr>
              <a:defRPr>
                <a:latin typeface="黑体" panose="02010609060101010101" charset="-122"/>
                <a:ea typeface="黑体" panose="02010609060101010101" charset="-122"/>
                <a:cs typeface="黑体" panose="02010609060101010101" charset="-122"/>
              </a:defRPr>
            </a:lvl1pPr>
          </a:lstStyle>
          <a:p>
            <a:r>
              <a:rPr lang="zh-CN" altLang="en-US"/>
              <a:t>单击此处编辑</a:t>
            </a:r>
            <a:br>
              <a:rPr lang="zh-CN" altLang="en-US"/>
            </a:br>
            <a:r>
              <a:rPr lang="zh-CN" altLang="en-US"/>
              <a:t>母版标题样式</a:t>
            </a:r>
          </a:p>
        </p:txBody>
      </p:sp>
      <p:sp>
        <p:nvSpPr>
          <p:cNvPr id="3" name="日期占位符 2"/>
          <p:cNvSpPr>
            <a:spLocks noGrp="1"/>
          </p:cNvSpPr>
          <p:nvPr>
            <p:ph type="dt" sz="half" idx="10"/>
          </p:nvPr>
        </p:nvSpPr>
        <p:spPr/>
        <p:txBody>
          <a:bodyPr/>
          <a:lstStyle/>
          <a:p>
            <a:fld id="{3B876983-0250-48D2-BBF9-C73C76F23511}" type="datetime1">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4"/>
          <a:stretch>
            <a:fillRect/>
          </a:stretch>
        </p:blipFill>
        <p:spPr>
          <a:xfrm>
            <a:off x="838200" y="534670"/>
            <a:ext cx="1807845" cy="608965"/>
          </a:xfrm>
          <a:prstGeom prst="rect">
            <a:avLst/>
          </a:prstGeom>
        </p:spPr>
      </p:pic>
      <p:sp>
        <p:nvSpPr>
          <p:cNvPr id="6" name="副标题 5"/>
          <p:cNvSpPr>
            <a:spLocks noGrp="1"/>
          </p:cNvSpPr>
          <p:nvPr>
            <p:ph type="subTitle" idx="1"/>
          </p:nvPr>
        </p:nvSpPr>
        <p:spPr>
          <a:xfrm>
            <a:off x="756920" y="3779520"/>
            <a:ext cx="6135370" cy="86614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bg>
      <p:bgPr>
        <a:gradFill>
          <a:gsLst>
            <a:gs pos="100000">
              <a:srgbClr val="FFF0E1"/>
            </a:gs>
            <a:gs pos="0">
              <a:srgbClr val="B5DEF4"/>
            </a:gs>
          </a:gsLst>
          <a:lin ang="5400000" scaled="0"/>
        </a:gradFill>
        <a:effectLst/>
      </p:bgPr>
    </p:bg>
    <p:spTree>
      <p:nvGrpSpPr>
        <p:cNvPr id="1" name=""/>
        <p:cNvGrpSpPr/>
        <p:nvPr/>
      </p:nvGrpSpPr>
      <p:grpSpPr>
        <a:xfrm>
          <a:off x="0" y="0"/>
          <a:ext cx="0" cy="0"/>
          <a:chOff x="0" y="0"/>
          <a:chExt cx="0" cy="0"/>
        </a:xfrm>
      </p:grpSpPr>
      <p:pic>
        <p:nvPicPr>
          <p:cNvPr id="7" name="图片 6" descr="图片1"/>
          <p:cNvPicPr>
            <a:picLocks noChangeAspect="1"/>
          </p:cNvPicPr>
          <p:nvPr userDrawn="1"/>
        </p:nvPicPr>
        <p:blipFill>
          <a:blip r:embed="rId4">
            <a:alphaModFix amt="23000"/>
          </a:blip>
          <a:stretch>
            <a:fillRect/>
          </a:stretch>
        </p:blipFill>
        <p:spPr>
          <a:xfrm>
            <a:off x="3669665" y="-635"/>
            <a:ext cx="8421370" cy="6858000"/>
          </a:xfrm>
          <a:prstGeom prst="rect">
            <a:avLst/>
          </a:prstGeom>
        </p:spPr>
      </p:pic>
      <p:pic>
        <p:nvPicPr>
          <p:cNvPr id="24" name="图片 23" descr="LOGO"/>
          <p:cNvPicPr>
            <a:picLocks noChangeAspect="1"/>
          </p:cNvPicPr>
          <p:nvPr userDrawn="1">
            <p:custDataLst>
              <p:tags r:id="rId1"/>
            </p:custDataLst>
          </p:nvPr>
        </p:nvPicPr>
        <p:blipFill>
          <a:blip r:embed="rId5"/>
          <a:stretch>
            <a:fillRect/>
          </a:stretch>
        </p:blipFill>
        <p:spPr>
          <a:xfrm>
            <a:off x="9364345" y="561975"/>
            <a:ext cx="1807845" cy="608965"/>
          </a:xfrm>
          <a:prstGeom prst="rect">
            <a:avLst/>
          </a:prstGeom>
        </p:spPr>
      </p:pic>
      <p:pic>
        <p:nvPicPr>
          <p:cNvPr id="21" name="图片 20" descr="人"/>
          <p:cNvPicPr>
            <a:picLocks noChangeAspect="1"/>
          </p:cNvPicPr>
          <p:nvPr userDrawn="1">
            <p:custDataLst>
              <p:tags r:id="rId2"/>
            </p:custDataLst>
          </p:nvPr>
        </p:nvPicPr>
        <p:blipFill>
          <a:blip r:embed="rId6"/>
          <a:stretch>
            <a:fillRect/>
          </a:stretch>
        </p:blipFill>
        <p:spPr>
          <a:xfrm>
            <a:off x="8138160" y="2495550"/>
            <a:ext cx="3727450" cy="4387215"/>
          </a:xfrm>
          <a:prstGeom prst="rect">
            <a:avLst/>
          </a:prstGeom>
        </p:spPr>
      </p:pic>
      <p:sp>
        <p:nvSpPr>
          <p:cNvPr id="8" name="内容占位符 7"/>
          <p:cNvSpPr>
            <a:spLocks noGrp="1"/>
          </p:cNvSpPr>
          <p:nvPr>
            <p:ph idx="13"/>
          </p:nvPr>
        </p:nvSpPr>
        <p:spPr>
          <a:xfrm>
            <a:off x="838200" y="561340"/>
            <a:ext cx="6901815" cy="5615940"/>
          </a:xfrm>
        </p:spPr>
        <p:txBody>
          <a:bodyPr/>
          <a:lstStyle>
            <a:lvl1pPr marL="0" indent="0">
              <a:buNone/>
              <a:defRPr/>
            </a:lvl1pPr>
            <a:lvl2pPr marL="457200" indent="0">
              <a:buNone/>
              <a:defRPr/>
            </a:lvl2pPr>
          </a:lstStyle>
          <a:p>
            <a:pPr lvl="0"/>
            <a:r>
              <a:rPr lang="zh-CN" altLang="en-US"/>
              <a:t>单击此处编辑母版文本样式</a:t>
            </a:r>
          </a:p>
        </p:txBody>
      </p:sp>
      <p:pic>
        <p:nvPicPr>
          <p:cNvPr id="23" name="图片 22" descr="小O"/>
          <p:cNvPicPr>
            <a:picLocks noChangeAspect="1"/>
          </p:cNvPicPr>
          <p:nvPr userDrawn="1"/>
        </p:nvPicPr>
        <p:blipFill>
          <a:blip r:embed="rId7"/>
          <a:stretch>
            <a:fillRect/>
          </a:stretch>
        </p:blipFill>
        <p:spPr>
          <a:xfrm>
            <a:off x="10833100" y="3560445"/>
            <a:ext cx="547370" cy="61722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94C4E1C8-C964-43BC-8C7E-A958AD3D35DC}" type="datetime1">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7"/>
          <a:stretch>
            <a:fillRect/>
          </a:stretch>
        </p:blipFill>
        <p:spPr>
          <a:xfrm>
            <a:off x="9364345" y="561975"/>
            <a:ext cx="1807845" cy="608965"/>
          </a:xfrm>
          <a:prstGeom prst="rect">
            <a:avLst/>
          </a:prstGeom>
        </p:spPr>
      </p:pic>
      <p:sp>
        <p:nvSpPr>
          <p:cNvPr id="9" name="椭圆 8"/>
          <p:cNvSpPr/>
          <p:nvPr userDrawn="1">
            <p:custDataLst>
              <p:tags r:id="rId2"/>
            </p:custDataLst>
          </p:nvPr>
        </p:nvSpPr>
        <p:spPr>
          <a:xfrm rot="5400000">
            <a:off x="1524000" y="1546860"/>
            <a:ext cx="213360" cy="213360"/>
          </a:xfrm>
          <a:prstGeom prst="ellipse">
            <a:avLst/>
          </a:prstGeom>
          <a:gradFill>
            <a:gsLst>
              <a:gs pos="0">
                <a:srgbClr val="F1B994"/>
              </a:gs>
              <a:gs pos="71000">
                <a:srgbClr val="FA998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custDataLst>
              <p:tags r:id="rId3"/>
            </p:custDataLst>
          </p:nvPr>
        </p:nvSpPr>
        <p:spPr>
          <a:xfrm rot="19860000">
            <a:off x="7407275" y="5708015"/>
            <a:ext cx="220345" cy="220345"/>
          </a:xfrm>
          <a:prstGeom prst="ellipse">
            <a:avLst/>
          </a:prstGeom>
          <a:gradFill>
            <a:gsLst>
              <a:gs pos="0">
                <a:srgbClr val="F1B994"/>
              </a:gs>
              <a:gs pos="71000">
                <a:srgbClr val="F16E5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0" name="图片 39" descr="山3"/>
          <p:cNvPicPr>
            <a:picLocks noChangeAspect="1"/>
          </p:cNvPicPr>
          <p:nvPr userDrawn="1">
            <p:custDataLst>
              <p:tags r:id="rId4"/>
            </p:custDataLst>
          </p:nvPr>
        </p:nvPicPr>
        <p:blipFill>
          <a:blip r:embed="rId8"/>
          <a:stretch>
            <a:fillRect/>
          </a:stretch>
        </p:blipFill>
        <p:spPr>
          <a:xfrm>
            <a:off x="9352915" y="5782310"/>
            <a:ext cx="3825875" cy="1066165"/>
          </a:xfrm>
          <a:prstGeom prst="rect">
            <a:avLst/>
          </a:prstGeom>
        </p:spPr>
      </p:pic>
      <p:pic>
        <p:nvPicPr>
          <p:cNvPr id="41" name="图片 40" descr="山2"/>
          <p:cNvPicPr>
            <a:picLocks noChangeAspect="1"/>
          </p:cNvPicPr>
          <p:nvPr userDrawn="1"/>
        </p:nvPicPr>
        <p:blipFill>
          <a:blip r:embed="rId9"/>
          <a:stretch>
            <a:fillRect/>
          </a:stretch>
        </p:blipFill>
        <p:spPr>
          <a:xfrm flipH="1">
            <a:off x="635" y="4455160"/>
            <a:ext cx="2573020" cy="2484755"/>
          </a:xfrm>
          <a:prstGeom prst="rect">
            <a:avLst/>
          </a:prstGeom>
        </p:spPr>
      </p:pic>
      <p:sp>
        <p:nvSpPr>
          <p:cNvPr id="6" name="椭圆 5"/>
          <p:cNvSpPr/>
          <p:nvPr userDrawn="1">
            <p:custDataLst>
              <p:tags r:id="rId5"/>
            </p:custDataLst>
          </p:nvPr>
        </p:nvSpPr>
        <p:spPr>
          <a:xfrm rot="15300000">
            <a:off x="11108690" y="2081530"/>
            <a:ext cx="220345" cy="220345"/>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内容占位符 7"/>
          <p:cNvSpPr>
            <a:spLocks noGrp="1"/>
          </p:cNvSpPr>
          <p:nvPr>
            <p:ph idx="1"/>
          </p:nvPr>
        </p:nvSpPr>
        <p:spPr/>
        <p:txBody>
          <a:bodyPr/>
          <a:lstStyle>
            <a:lvl1pPr marL="0" indent="0">
              <a:buNone/>
              <a:defRPr/>
            </a:lvl1pPr>
            <a:lvl2pPr marL="457200" indent="0">
              <a:buNone/>
              <a:defRPr/>
            </a:lvl2pPr>
          </a:lstStyle>
          <a:p>
            <a:pPr lvl="0"/>
            <a:r>
              <a:rPr lang="zh-CN" altLang="en-US"/>
              <a:t>单击此处编辑母版文本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1F3E8F10-0DDB-4E69-919E-ECA42A479EF8}" type="datetime1">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8" name="图片 7" descr="山1"/>
          <p:cNvPicPr>
            <a:picLocks noChangeAspect="1"/>
          </p:cNvPicPr>
          <p:nvPr userDrawn="1"/>
        </p:nvPicPr>
        <p:blipFill>
          <a:blip r:embed="rId3"/>
          <a:stretch>
            <a:fillRect/>
          </a:stretch>
        </p:blipFill>
        <p:spPr>
          <a:xfrm>
            <a:off x="0" y="5182870"/>
            <a:ext cx="2282190" cy="1675130"/>
          </a:xfrm>
          <a:prstGeom prst="rect">
            <a:avLst/>
          </a:prstGeom>
        </p:spPr>
      </p:pic>
      <p:pic>
        <p:nvPicPr>
          <p:cNvPr id="14" name="图片 13" descr="山3"/>
          <p:cNvPicPr>
            <a:picLocks noChangeAspect="1"/>
          </p:cNvPicPr>
          <p:nvPr userDrawn="1">
            <p:custDataLst>
              <p:tags r:id="rId1"/>
            </p:custDataLst>
          </p:nvPr>
        </p:nvPicPr>
        <p:blipFill>
          <a:blip r:embed="rId4"/>
          <a:stretch>
            <a:fillRect/>
          </a:stretch>
        </p:blipFill>
        <p:spPr>
          <a:xfrm>
            <a:off x="8301355" y="5865495"/>
            <a:ext cx="3562350" cy="992505"/>
          </a:xfrm>
          <a:prstGeom prst="rect">
            <a:avLst/>
          </a:prstGeom>
        </p:spPr>
      </p:pic>
      <p:pic>
        <p:nvPicPr>
          <p:cNvPr id="20" name="图片 19" descr="山2"/>
          <p:cNvPicPr>
            <a:picLocks noChangeAspect="1"/>
          </p:cNvPicPr>
          <p:nvPr userDrawn="1"/>
        </p:nvPicPr>
        <p:blipFill>
          <a:blip r:embed="rId5"/>
          <a:stretch>
            <a:fillRect/>
          </a:stretch>
        </p:blipFill>
        <p:spPr>
          <a:xfrm>
            <a:off x="10738485" y="4309110"/>
            <a:ext cx="1453515" cy="254889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bg>
      <p:bgPr>
        <a:gradFill>
          <a:gsLst>
            <a:gs pos="100000">
              <a:srgbClr val="B7DFF4"/>
            </a:gs>
            <a:gs pos="0">
              <a:srgbClr val="FEF0E2"/>
            </a:gs>
          </a:gsLst>
          <a:lin ang="5400000" scaled="0"/>
        </a:gra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F5C61E66-FA21-4453-8620-9401F15065E5}" type="datetime1">
              <a:rPr lang="zh-CN" altLang="en-US" smtClean="0"/>
              <a:t>2023/10/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5"/>
          <a:stretch>
            <a:fillRect/>
          </a:stretch>
        </p:blipFill>
        <p:spPr>
          <a:xfrm>
            <a:off x="9364345" y="561975"/>
            <a:ext cx="1807845" cy="608965"/>
          </a:xfrm>
          <a:prstGeom prst="rect">
            <a:avLst/>
          </a:prstGeom>
        </p:spPr>
      </p:pic>
      <p:pic>
        <p:nvPicPr>
          <p:cNvPr id="21" name="图片 20" descr="人"/>
          <p:cNvPicPr>
            <a:picLocks noChangeAspect="1"/>
          </p:cNvPicPr>
          <p:nvPr userDrawn="1">
            <p:custDataLst>
              <p:tags r:id="rId2"/>
            </p:custDataLst>
          </p:nvPr>
        </p:nvPicPr>
        <p:blipFill>
          <a:blip r:embed="rId6"/>
          <a:srcRect r="57922" b="63188"/>
          <a:stretch>
            <a:fillRect/>
          </a:stretch>
        </p:blipFill>
        <p:spPr>
          <a:xfrm>
            <a:off x="9862820" y="4866005"/>
            <a:ext cx="1934845" cy="1991995"/>
          </a:xfrm>
          <a:prstGeom prst="rect">
            <a:avLst/>
          </a:prstGeom>
        </p:spPr>
      </p:pic>
      <p:pic>
        <p:nvPicPr>
          <p:cNvPr id="42" name="图片 41" descr="山5"/>
          <p:cNvPicPr>
            <a:picLocks noChangeAspect="1"/>
          </p:cNvPicPr>
          <p:nvPr userDrawn="1">
            <p:custDataLst>
              <p:tags r:id="rId3"/>
            </p:custDataLst>
          </p:nvPr>
        </p:nvPicPr>
        <p:blipFill>
          <a:blip r:embed="rId7"/>
          <a:stretch>
            <a:fillRect/>
          </a:stretch>
        </p:blipFill>
        <p:spPr>
          <a:xfrm flipH="1">
            <a:off x="-104775" y="5579110"/>
            <a:ext cx="3269615" cy="216598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bg>
      <p:bgPr>
        <a:gradFill>
          <a:gsLst>
            <a:gs pos="0">
              <a:schemeClr val="bg1"/>
            </a:gs>
            <a:gs pos="100000">
              <a:srgbClr val="FFD8B1"/>
            </a:gs>
          </a:gsLst>
          <a:lin ang="5400000" scaled="0"/>
        </a:gra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rgbClr val="445185"/>
                </a:solidFill>
              </a:defRPr>
            </a:lvl1pPr>
          </a:lstStyle>
          <a:p>
            <a:r>
              <a:rPr lang="zh-CN" altLang="en-US"/>
              <a:t>单击此处编辑母版标题样式</a:t>
            </a:r>
          </a:p>
        </p:txBody>
      </p:sp>
      <p:sp>
        <p:nvSpPr>
          <p:cNvPr id="3" name="内容占位符 2"/>
          <p:cNvSpPr>
            <a:spLocks noGrp="1"/>
          </p:cNvSpPr>
          <p:nvPr>
            <p:ph idx="1"/>
          </p:nvPr>
        </p:nvSpPr>
        <p:spPr/>
        <p:txBody>
          <a:bodyPr/>
          <a:lstStyle>
            <a:lvl1pPr marL="0" indent="0">
              <a:buNone/>
              <a:defRPr>
                <a:solidFill>
                  <a:srgbClr val="445185"/>
                </a:solidFill>
              </a:defRPr>
            </a:lvl1pPr>
            <a:lvl2pPr marL="457200" indent="0">
              <a:buNone/>
              <a:defRPr/>
            </a:lvl2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85CE930-4132-4F41-9DED-B214C229B79D}" type="datetime1">
              <a:rPr lang="zh-CN" altLang="en-US" smtClean="0"/>
              <a:t>2023/10/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6"/>
          <a:stretch>
            <a:fillRect/>
          </a:stretch>
        </p:blipFill>
        <p:spPr>
          <a:xfrm>
            <a:off x="9364345" y="561975"/>
            <a:ext cx="1807845" cy="608965"/>
          </a:xfrm>
          <a:prstGeom prst="rect">
            <a:avLst/>
          </a:prstGeom>
        </p:spPr>
      </p:pic>
      <p:pic>
        <p:nvPicPr>
          <p:cNvPr id="7" name="图片 6" descr="山3"/>
          <p:cNvPicPr>
            <a:picLocks noChangeAspect="1"/>
          </p:cNvPicPr>
          <p:nvPr userDrawn="1"/>
        </p:nvPicPr>
        <p:blipFill>
          <a:blip r:embed="rId7"/>
          <a:stretch>
            <a:fillRect/>
          </a:stretch>
        </p:blipFill>
        <p:spPr>
          <a:xfrm>
            <a:off x="9352915" y="5791835"/>
            <a:ext cx="3825875" cy="1066165"/>
          </a:xfrm>
          <a:prstGeom prst="rect">
            <a:avLst/>
          </a:prstGeom>
        </p:spPr>
      </p:pic>
      <p:pic>
        <p:nvPicPr>
          <p:cNvPr id="8" name="图片 7" descr="山1"/>
          <p:cNvPicPr>
            <a:picLocks noChangeAspect="1"/>
          </p:cNvPicPr>
          <p:nvPr userDrawn="1"/>
        </p:nvPicPr>
        <p:blipFill>
          <a:blip r:embed="rId8"/>
          <a:stretch>
            <a:fillRect/>
          </a:stretch>
        </p:blipFill>
        <p:spPr>
          <a:xfrm>
            <a:off x="0" y="5182870"/>
            <a:ext cx="2282190" cy="1675130"/>
          </a:xfrm>
          <a:prstGeom prst="rect">
            <a:avLst/>
          </a:prstGeom>
        </p:spPr>
      </p:pic>
      <p:sp>
        <p:nvSpPr>
          <p:cNvPr id="19" name="椭圆 18"/>
          <p:cNvSpPr/>
          <p:nvPr userDrawn="1">
            <p:custDataLst>
              <p:tags r:id="rId2"/>
            </p:custDataLst>
          </p:nvPr>
        </p:nvSpPr>
        <p:spPr>
          <a:xfrm rot="19860000">
            <a:off x="11713845" y="2876550"/>
            <a:ext cx="220345" cy="220345"/>
          </a:xfrm>
          <a:prstGeom prst="ellipse">
            <a:avLst/>
          </a:prstGeom>
          <a:gradFill>
            <a:gsLst>
              <a:gs pos="0">
                <a:srgbClr val="FFD3A7"/>
              </a:gs>
              <a:gs pos="71000">
                <a:srgbClr val="FFAF7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userDrawn="1">
            <p:custDataLst>
              <p:tags r:id="rId3"/>
            </p:custDataLst>
          </p:nvPr>
        </p:nvSpPr>
        <p:spPr>
          <a:xfrm rot="5400000">
            <a:off x="7940040" y="365125"/>
            <a:ext cx="213360" cy="213360"/>
          </a:xfrm>
          <a:prstGeom prst="ellipse">
            <a:avLst/>
          </a:prstGeom>
          <a:gradFill>
            <a:gsLst>
              <a:gs pos="0">
                <a:srgbClr val="F1B994"/>
              </a:gs>
              <a:gs pos="71000">
                <a:srgbClr val="FA998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userDrawn="1">
            <p:custDataLst>
              <p:tags r:id="rId4"/>
            </p:custDataLst>
          </p:nvPr>
        </p:nvSpPr>
        <p:spPr>
          <a:xfrm rot="15300000">
            <a:off x="1004570" y="3891280"/>
            <a:ext cx="220345" cy="220345"/>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gradFill>
          <a:gsLst>
            <a:gs pos="100000">
              <a:srgbClr val="FFF0E1"/>
            </a:gs>
            <a:gs pos="0">
              <a:srgbClr val="B5DEF4"/>
            </a:gs>
          </a:gsLst>
          <a:lin ang="5400000" scaled="0"/>
        </a:gradFill>
        <a:effectLst/>
      </p:bgPr>
    </p:bg>
    <p:spTree>
      <p:nvGrpSpPr>
        <p:cNvPr id="1" name=""/>
        <p:cNvGrpSpPr/>
        <p:nvPr/>
      </p:nvGrpSpPr>
      <p:grpSpPr>
        <a:xfrm>
          <a:off x="0" y="0"/>
          <a:ext cx="0" cy="0"/>
          <a:chOff x="0" y="0"/>
          <a:chExt cx="0" cy="0"/>
        </a:xfrm>
      </p:grpSpPr>
      <p:sp>
        <p:nvSpPr>
          <p:cNvPr id="18" name="Rectangle 50"/>
          <p:cNvSpPr/>
          <p:nvPr userDrawn="1">
            <p:custDataLst>
              <p:tags r:id="rId1"/>
            </p:custDataLst>
          </p:nvPr>
        </p:nvSpPr>
        <p:spPr>
          <a:xfrm>
            <a:off x="1011945" y="3774594"/>
            <a:ext cx="2672080" cy="1383665"/>
          </a:xfrm>
          <a:prstGeom prst="rect">
            <a:avLst/>
          </a:prstGeom>
        </p:spPr>
        <p:txBody>
          <a:bodyPr wrap="none">
            <a:spAutoFit/>
          </a:bodyPr>
          <a:lstStyle/>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微信公众号：开源社</a:t>
            </a:r>
            <a:r>
              <a:rPr lang="en-US" sz="1400" kern="1700" dirty="0">
                <a:solidFill>
                  <a:srgbClr val="445185"/>
                </a:solidFill>
                <a:latin typeface="黑体" panose="02010609060101010101" charset="-122"/>
                <a:ea typeface="黑体" panose="02010609060101010101" charset="-122"/>
                <a:cs typeface="黑体" panose="02010609060101010101" charset="-122"/>
              </a:rPr>
              <a:t>KAIYUANSHE</a:t>
            </a:r>
          </a:p>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视频号：开源社</a:t>
            </a:r>
            <a:r>
              <a:rPr lang="en-US" sz="1400" kern="1700" dirty="0">
                <a:solidFill>
                  <a:srgbClr val="445185"/>
                </a:solidFill>
                <a:latin typeface="黑体" panose="02010609060101010101" charset="-122"/>
                <a:ea typeface="黑体" panose="02010609060101010101" charset="-122"/>
                <a:cs typeface="黑体" panose="02010609060101010101" charset="-122"/>
              </a:rPr>
              <a:t>KAIYUANSHE</a:t>
            </a:r>
          </a:p>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新浪微博：开源社</a:t>
            </a:r>
          </a:p>
          <a:p>
            <a:pPr algn="l">
              <a:lnSpc>
                <a:spcPct val="150000"/>
              </a:lnSpc>
            </a:pPr>
            <a:r>
              <a:rPr lang="en-US" sz="1400" kern="1700" dirty="0">
                <a:solidFill>
                  <a:srgbClr val="445185"/>
                </a:solidFill>
                <a:latin typeface="黑体" panose="02010609060101010101" charset="-122"/>
                <a:ea typeface="黑体" panose="02010609060101010101" charset="-122"/>
                <a:cs typeface="黑体" panose="02010609060101010101" charset="-122"/>
              </a:rPr>
              <a:t>B</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站：</a:t>
            </a:r>
            <a:r>
              <a:rPr lang="zh-CN" altLang="en-US" sz="1400" kern="1700" dirty="0">
                <a:solidFill>
                  <a:srgbClr val="445185"/>
                </a:solidFill>
                <a:latin typeface="黑体" panose="02010609060101010101" charset="-122"/>
                <a:ea typeface="黑体" panose="02010609060101010101" charset="-122"/>
                <a:cs typeface="黑体" panose="02010609060101010101" charset="-122"/>
                <a:sym typeface="+mn-ea"/>
              </a:rPr>
              <a:t>开源社</a:t>
            </a:r>
            <a:r>
              <a:rPr lang="en-US" sz="1400" kern="1700" dirty="0">
                <a:solidFill>
                  <a:srgbClr val="445185"/>
                </a:solidFill>
                <a:latin typeface="黑体" panose="02010609060101010101" charset="-122"/>
                <a:ea typeface="黑体" panose="02010609060101010101" charset="-122"/>
                <a:cs typeface="黑体" panose="02010609060101010101" charset="-122"/>
                <a:sym typeface="+mn-ea"/>
              </a:rPr>
              <a:t>KAIYUANSHE</a:t>
            </a:r>
            <a:endParaRPr lang="zh-CN" altLang="en-US" sz="1400" kern="1700" dirty="0">
              <a:solidFill>
                <a:srgbClr val="445185"/>
              </a:solidFill>
              <a:latin typeface="黑体" panose="02010609060101010101" charset="-122"/>
              <a:ea typeface="黑体" panose="02010609060101010101" charset="-122"/>
              <a:cs typeface="黑体" panose="02010609060101010101" charset="-122"/>
            </a:endParaRPr>
          </a:p>
        </p:txBody>
      </p:sp>
      <p:sp>
        <p:nvSpPr>
          <p:cNvPr id="40" name="Rectangle 50"/>
          <p:cNvSpPr/>
          <p:nvPr userDrawn="1">
            <p:custDataLst>
              <p:tags r:id="rId2"/>
            </p:custDataLst>
          </p:nvPr>
        </p:nvSpPr>
        <p:spPr>
          <a:xfrm>
            <a:off x="4531809" y="3774594"/>
            <a:ext cx="2405380" cy="1383665"/>
          </a:xfrm>
          <a:prstGeom prst="rect">
            <a:avLst/>
          </a:prstGeom>
        </p:spPr>
        <p:txBody>
          <a:bodyPr wrap="none">
            <a:spAutoFit/>
          </a:bodyPr>
          <a:lstStyle/>
          <a:p>
            <a:pPr>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简书：开源社</a:t>
            </a:r>
          </a:p>
          <a:p>
            <a:pPr>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头条：开源社</a:t>
            </a:r>
          </a:p>
          <a:p>
            <a:pPr>
              <a:lnSpc>
                <a:spcPct val="150000"/>
              </a:lnSpc>
            </a:pPr>
            <a:r>
              <a:rPr lang="en-US" altLang="zh-CN" sz="1400" kern="1700" dirty="0">
                <a:solidFill>
                  <a:srgbClr val="445185"/>
                </a:solidFill>
                <a:latin typeface="黑体" panose="02010609060101010101" charset="-122"/>
                <a:ea typeface="黑体" panose="02010609060101010101" charset="-122"/>
                <a:cs typeface="黑体" panose="02010609060101010101" charset="-122"/>
              </a:rPr>
              <a:t>Facebook</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a:t>
            </a:r>
            <a:r>
              <a:rPr lang="en-US" altLang="zh-CN" sz="1400" kern="1700" dirty="0" err="1">
                <a:solidFill>
                  <a:srgbClr val="445185"/>
                </a:solidFill>
                <a:latin typeface="黑体" panose="02010609060101010101" charset="-122"/>
                <a:ea typeface="黑体" panose="02010609060101010101" charset="-122"/>
                <a:cs typeface="黑体" panose="02010609060101010101" charset="-122"/>
              </a:rPr>
              <a:t>KaiyuansheChina</a:t>
            </a:r>
            <a:endParaRPr lang="en-US" altLang="zh-CN" sz="1400" kern="1700" dirty="0">
              <a:solidFill>
                <a:srgbClr val="445185"/>
              </a:solidFill>
              <a:latin typeface="黑体" panose="02010609060101010101" charset="-122"/>
              <a:ea typeface="黑体" panose="02010609060101010101" charset="-122"/>
              <a:cs typeface="黑体" panose="02010609060101010101" charset="-122"/>
            </a:endParaRPr>
          </a:p>
          <a:p>
            <a:pPr>
              <a:lnSpc>
                <a:spcPct val="150000"/>
              </a:lnSpc>
            </a:pPr>
            <a:r>
              <a:rPr lang="en-US" altLang="zh-CN" sz="1400" kern="1700" dirty="0">
                <a:solidFill>
                  <a:srgbClr val="445185"/>
                </a:solidFill>
                <a:latin typeface="黑体" panose="02010609060101010101" charset="-122"/>
                <a:ea typeface="黑体" panose="02010609060101010101" charset="-122"/>
                <a:cs typeface="黑体" panose="02010609060101010101" charset="-122"/>
              </a:rPr>
              <a:t>Twitter</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开源社</a:t>
            </a:r>
            <a:r>
              <a:rPr lang="en-US" altLang="zh-CN" sz="1400" kern="1700" dirty="0">
                <a:solidFill>
                  <a:srgbClr val="445185"/>
                </a:solidFill>
                <a:latin typeface="黑体" panose="02010609060101010101" charset="-122"/>
                <a:ea typeface="黑体" panose="02010609060101010101" charset="-122"/>
                <a:cs typeface="黑体" panose="02010609060101010101" charset="-122"/>
              </a:rPr>
              <a:t>KAIYUANSHE</a:t>
            </a:r>
          </a:p>
        </p:txBody>
      </p:sp>
      <p:grpSp>
        <p:nvGrpSpPr>
          <p:cNvPr id="30" name="组合 29"/>
          <p:cNvGrpSpPr/>
          <p:nvPr userDrawn="1"/>
        </p:nvGrpSpPr>
        <p:grpSpPr>
          <a:xfrm>
            <a:off x="8078470" y="3173095"/>
            <a:ext cx="1470025" cy="2292130"/>
            <a:chOff x="15532" y="5341"/>
            <a:chExt cx="2488" cy="3878"/>
          </a:xfrm>
        </p:grpSpPr>
        <p:sp>
          <p:nvSpPr>
            <p:cNvPr id="5" name="矩形 4"/>
            <p:cNvSpPr/>
            <p:nvPr>
              <p:custDataLst>
                <p:tags r:id="rId10"/>
              </p:custDataLst>
            </p:nvPr>
          </p:nvSpPr>
          <p:spPr>
            <a:xfrm>
              <a:off x="15583" y="6358"/>
              <a:ext cx="2371" cy="23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custDataLst>
                <p:tags r:id="rId11"/>
              </p:custDataLst>
            </p:nvPr>
          </p:nvSpPr>
          <p:spPr>
            <a:xfrm>
              <a:off x="15532" y="8804"/>
              <a:ext cx="2488" cy="415"/>
            </a:xfrm>
            <a:prstGeom prst="rect">
              <a:avLst/>
            </a:prstGeom>
            <a:noFill/>
          </p:spPr>
          <p:txBody>
            <a:bodyPr wrap="square" rtlCol="0">
              <a:spAutoFit/>
            </a:bodyPr>
            <a:lstStyle/>
            <a:p>
              <a:pPr algn="ctr"/>
              <a:r>
                <a:rPr lang="zh-CN" altLang="en-US" sz="1000" dirty="0">
                  <a:solidFill>
                    <a:srgbClr val="445185"/>
                  </a:solidFill>
                  <a:latin typeface="黑体" panose="02010609060101010101" charset="-122"/>
                  <a:ea typeface="黑体" panose="02010609060101010101" charset="-122"/>
                </a:rPr>
                <a:t>扫码关注开源社公众号</a:t>
              </a:r>
            </a:p>
          </p:txBody>
        </p:sp>
        <p:pic>
          <p:nvPicPr>
            <p:cNvPr id="38" name="图片 37"/>
            <p:cNvPicPr>
              <a:picLocks noChangeAspect="1"/>
            </p:cNvPicPr>
            <p:nvPr>
              <p:custDataLst>
                <p:tags r:id="rId12"/>
              </p:custDataLst>
            </p:nvPr>
          </p:nvPicPr>
          <p:blipFill>
            <a:blip r:embed="rId15">
              <a:extLst>
                <a:ext uri="{28A0092B-C50C-407E-A947-70E740481C1C}">
                  <a14:useLocalDpi xmlns:a14="http://schemas.microsoft.com/office/drawing/2010/main" val="0"/>
                </a:ext>
              </a:extLst>
            </a:blip>
            <a:stretch>
              <a:fillRect/>
            </a:stretch>
          </p:blipFill>
          <p:spPr>
            <a:xfrm>
              <a:off x="15612" y="6380"/>
              <a:ext cx="2334" cy="2334"/>
            </a:xfrm>
            <a:prstGeom prst="rect">
              <a:avLst/>
            </a:prstGeom>
          </p:spPr>
        </p:pic>
        <p:pic>
          <p:nvPicPr>
            <p:cNvPr id="14" name="图片 13" descr="小O"/>
            <p:cNvPicPr>
              <a:picLocks noChangeAspect="1"/>
            </p:cNvPicPr>
            <p:nvPr>
              <p:custDataLst>
                <p:tags r:id="rId13"/>
              </p:custDataLst>
            </p:nvPr>
          </p:nvPicPr>
          <p:blipFill>
            <a:blip r:embed="rId16"/>
            <a:stretch>
              <a:fillRect/>
            </a:stretch>
          </p:blipFill>
          <p:spPr>
            <a:xfrm rot="20940000">
              <a:off x="16312" y="5341"/>
              <a:ext cx="980" cy="1105"/>
            </a:xfrm>
            <a:prstGeom prst="rect">
              <a:avLst/>
            </a:prstGeom>
          </p:spPr>
        </p:pic>
      </p:grpSp>
      <p:pic>
        <p:nvPicPr>
          <p:cNvPr id="24" name="图片 23" descr="LOGO"/>
          <p:cNvPicPr>
            <a:picLocks noChangeAspect="1"/>
          </p:cNvPicPr>
          <p:nvPr userDrawn="1">
            <p:custDataLst>
              <p:tags r:id="rId3"/>
            </p:custDataLst>
          </p:nvPr>
        </p:nvPicPr>
        <p:blipFill>
          <a:blip r:embed="rId17"/>
          <a:stretch>
            <a:fillRect/>
          </a:stretch>
        </p:blipFill>
        <p:spPr>
          <a:xfrm>
            <a:off x="9364345" y="561975"/>
            <a:ext cx="1807845" cy="608965"/>
          </a:xfrm>
          <a:prstGeom prst="rect">
            <a:avLst/>
          </a:prstGeom>
        </p:spPr>
      </p:pic>
      <p:sp>
        <p:nvSpPr>
          <p:cNvPr id="19" name="椭圆 18"/>
          <p:cNvSpPr/>
          <p:nvPr userDrawn="1">
            <p:custDataLst>
              <p:tags r:id="rId4"/>
            </p:custDataLst>
          </p:nvPr>
        </p:nvSpPr>
        <p:spPr>
          <a:xfrm rot="1980000">
            <a:off x="7983220" y="1541780"/>
            <a:ext cx="300355" cy="306705"/>
          </a:xfrm>
          <a:prstGeom prst="ellipse">
            <a:avLst/>
          </a:prstGeom>
          <a:gradFill>
            <a:gsLst>
              <a:gs pos="10000">
                <a:srgbClr val="A5D7F2"/>
              </a:gs>
              <a:gs pos="84000">
                <a:srgbClr val="36A9E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p:cNvSpPr/>
          <p:nvPr userDrawn="1">
            <p:custDataLst>
              <p:tags r:id="rId5"/>
            </p:custDataLst>
          </p:nvPr>
        </p:nvSpPr>
        <p:spPr>
          <a:xfrm rot="15300000">
            <a:off x="11022330" y="2157730"/>
            <a:ext cx="292100" cy="292100"/>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descr="山3"/>
          <p:cNvPicPr>
            <a:picLocks noChangeAspect="1"/>
          </p:cNvPicPr>
          <p:nvPr userDrawn="1">
            <p:custDataLst>
              <p:tags r:id="rId6"/>
            </p:custDataLst>
          </p:nvPr>
        </p:nvPicPr>
        <p:blipFill>
          <a:blip r:embed="rId18"/>
          <a:stretch>
            <a:fillRect/>
          </a:stretch>
        </p:blipFill>
        <p:spPr>
          <a:xfrm flipH="1">
            <a:off x="-706755" y="5791835"/>
            <a:ext cx="3825875" cy="1066165"/>
          </a:xfrm>
          <a:prstGeom prst="rect">
            <a:avLst/>
          </a:prstGeom>
        </p:spPr>
      </p:pic>
      <p:sp>
        <p:nvSpPr>
          <p:cNvPr id="15" name="椭圆 14"/>
          <p:cNvSpPr/>
          <p:nvPr userDrawn="1">
            <p:custDataLst>
              <p:tags r:id="rId7"/>
            </p:custDataLst>
          </p:nvPr>
        </p:nvSpPr>
        <p:spPr>
          <a:xfrm rot="5400000">
            <a:off x="3344545" y="5866130"/>
            <a:ext cx="272415" cy="272415"/>
          </a:xfrm>
          <a:prstGeom prst="ellipse">
            <a:avLst/>
          </a:prstGeom>
          <a:gradFill>
            <a:gsLst>
              <a:gs pos="0">
                <a:schemeClr val="accent5">
                  <a:lumMod val="20000"/>
                  <a:lumOff val="80000"/>
                </a:schemeClr>
              </a:gs>
              <a:gs pos="71000">
                <a:srgbClr val="B7DFF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 name="图片 19" descr="山2"/>
          <p:cNvPicPr>
            <a:picLocks noChangeAspect="1"/>
          </p:cNvPicPr>
          <p:nvPr userDrawn="1">
            <p:custDataLst>
              <p:tags r:id="rId8"/>
            </p:custDataLst>
          </p:nvPr>
        </p:nvPicPr>
        <p:blipFill>
          <a:blip r:embed="rId19"/>
          <a:stretch>
            <a:fillRect/>
          </a:stretch>
        </p:blipFill>
        <p:spPr>
          <a:xfrm>
            <a:off x="10738485" y="4728210"/>
            <a:ext cx="1453515" cy="2548890"/>
          </a:xfrm>
          <a:prstGeom prst="rect">
            <a:avLst/>
          </a:prstGeom>
        </p:spPr>
      </p:pic>
      <p:sp>
        <p:nvSpPr>
          <p:cNvPr id="3" name="文本框 2"/>
          <p:cNvSpPr txBox="1"/>
          <p:nvPr userDrawn="1">
            <p:custDataLst>
              <p:tags r:id="rId9"/>
            </p:custDataLst>
          </p:nvPr>
        </p:nvSpPr>
        <p:spPr>
          <a:xfrm>
            <a:off x="9926955" y="5224380"/>
            <a:ext cx="1470025" cy="245110"/>
          </a:xfrm>
          <a:prstGeom prst="rect">
            <a:avLst/>
          </a:prstGeom>
          <a:noFill/>
        </p:spPr>
        <p:txBody>
          <a:bodyPr wrap="square" rtlCol="0">
            <a:spAutoFit/>
          </a:bodyPr>
          <a:lstStyle/>
          <a:p>
            <a:pPr algn="ctr"/>
            <a:r>
              <a:rPr lang="zh-CN" altLang="en-US" sz="1000" dirty="0">
                <a:solidFill>
                  <a:srgbClr val="445185"/>
                </a:solidFill>
                <a:latin typeface="阿里巴巴普惠体 R" panose="00020600040101010101" charset="-122"/>
                <a:ea typeface="阿里巴巴普惠体 R" panose="00020600040101010101" charset="-122"/>
              </a:rPr>
              <a:t>扫码添加讲师联系方式</a:t>
            </a:r>
          </a:p>
        </p:txBody>
      </p:sp>
      <p:sp>
        <p:nvSpPr>
          <p:cNvPr id="4" name="文本占位符 3"/>
          <p:cNvSpPr>
            <a:spLocks noGrp="1"/>
          </p:cNvSpPr>
          <p:nvPr>
            <p:ph type="body" idx="1"/>
          </p:nvPr>
        </p:nvSpPr>
        <p:spPr>
          <a:xfrm>
            <a:off x="1012190" y="830580"/>
            <a:ext cx="5925820" cy="2463800"/>
          </a:xfrm>
          <a:prstGeom prst="rect">
            <a:avLst/>
          </a:prstGeom>
        </p:spPr>
        <p:txBody>
          <a:bodyPr vert="horz" lIns="91440" tIns="45720" rIns="91440" bIns="45720" rtlCol="0">
            <a:normAutofit/>
          </a:bodyPr>
          <a:lstStyle/>
          <a:p>
            <a:pPr lvl="0"/>
            <a:r>
              <a:rPr lang="zh-CN" altLang="en-US"/>
              <a:t>单击此处编辑母版文本样式</a:t>
            </a:r>
          </a:p>
          <a:p>
            <a:pPr lvl="1"/>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randombar(horizontal)">
                                      <p:cBhvr>
                                        <p:cTn id="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40"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9D6027-F7C7-4EF3-85DD-09E27ACEEACA}"/>
              </a:ext>
            </a:extLst>
          </p:cNvPr>
          <p:cNvSpPr>
            <a:spLocks noGrp="1"/>
          </p:cNvSpPr>
          <p:nvPr>
            <p:ph type="dt" sz="half" idx="10"/>
          </p:nvPr>
        </p:nvSpPr>
        <p:spPr/>
        <p:txBody>
          <a:bodyPr/>
          <a:lstStyle/>
          <a:p>
            <a:fld id="{A50ECBEB-8597-4EA4-9D29-E1D7025CFAA0}" type="datetime1">
              <a:rPr lang="zh-CN" altLang="en-US" smtClean="0"/>
              <a:t>2023/10/27</a:t>
            </a:fld>
            <a:endParaRPr lang="zh-CN" altLang="en-US"/>
          </a:p>
        </p:txBody>
      </p:sp>
      <p:sp>
        <p:nvSpPr>
          <p:cNvPr id="3" name="Footer Placeholder 2">
            <a:extLst>
              <a:ext uri="{FF2B5EF4-FFF2-40B4-BE49-F238E27FC236}">
                <a16:creationId xmlns:a16="http://schemas.microsoft.com/office/drawing/2014/main" id="{66262BA1-A5A7-45F4-B365-E880E1C324C3}"/>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F80CF1E8-0939-4B4D-A4D3-E47E208FC47E}"/>
              </a:ext>
            </a:extLst>
          </p:cNvPr>
          <p:cNvSpPr>
            <a:spLocks noGrp="1"/>
          </p:cNvSpPr>
          <p:nvPr>
            <p:ph type="sldNum" sz="quarter" idx="12"/>
          </p:nvPr>
        </p:nvSpPr>
        <p:spPr/>
        <p:txBody>
          <a:bodyPr/>
          <a:lstStyle/>
          <a:p>
            <a:fld id="{7F65B630-C7FF-41C0-9923-C5E5E29EED81}" type="slidenum">
              <a:rPr lang="zh-CN" altLang="en-US" smtClean="0"/>
              <a:t>‹#›</a:t>
            </a:fld>
            <a:endParaRPr lang="zh-CN" altLang="en-US"/>
          </a:p>
        </p:txBody>
      </p:sp>
    </p:spTree>
    <p:extLst>
      <p:ext uri="{BB962C8B-B14F-4D97-AF65-F5344CB8AC3E}">
        <p14:creationId xmlns:p14="http://schemas.microsoft.com/office/powerpoint/2010/main" val="799925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rgbClr val="B7DFF4"/>
            </a:gs>
            <a:gs pos="100000">
              <a:srgbClr val="FFF0E1"/>
            </a:gs>
          </a:gsLst>
          <a:lin ang="5400000" scaled="0"/>
        </a:gra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D03EA4-E2A6-4078-BC10-0F092A34FA0E}" type="datetime1">
              <a:rPr lang="zh-CN" altLang="en-US" smtClean="0"/>
              <a:t>2023/10/2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703A48-C316-4AA3-8E4E-4433376E065D}" type="slidenum">
              <a:rPr lang="zh-CN" altLang="en-US" smtClean="0"/>
              <a:t>‹#›</a:t>
            </a:fld>
            <a:endParaRPr lang="zh-CN" altLang="en-US"/>
          </a:p>
        </p:txBody>
      </p:sp>
      <p:sp>
        <p:nvSpPr>
          <p:cNvPr id="25" name="文本框 24"/>
          <p:cNvSpPr txBox="1"/>
          <p:nvPr userDrawn="1">
            <p:custDataLst>
              <p:tags r:id="rId10"/>
            </p:custDataLst>
          </p:nvPr>
        </p:nvSpPr>
        <p:spPr>
          <a:xfrm>
            <a:off x="3466187" y="6219374"/>
            <a:ext cx="2514600" cy="275590"/>
          </a:xfrm>
          <a:prstGeom prst="rect">
            <a:avLst/>
          </a:prstGeom>
          <a:noFill/>
        </p:spPr>
        <p:txBody>
          <a:bodyPr wrap="square" rtlCol="0">
            <a:spAutoFit/>
          </a:bodyPr>
          <a:lstStyle/>
          <a:p>
            <a:pPr algn="ctr"/>
            <a:r>
              <a:rPr lang="en-US" altLang="zh-CN" sz="1200" dirty="0">
                <a:solidFill>
                  <a:srgbClr val="363E7D"/>
                </a:solidFill>
                <a:latin typeface="黑体" panose="02010609060101010101" charset="-122"/>
                <a:ea typeface="黑体" panose="02010609060101010101" charset="-122"/>
                <a:cs typeface="黑体" panose="02010609060101010101" charset="-122"/>
              </a:rPr>
              <a:t>2023 </a:t>
            </a:r>
            <a:r>
              <a:rPr lang="zh-CN" altLang="en-US" sz="1200" dirty="0">
                <a:solidFill>
                  <a:srgbClr val="363E7D"/>
                </a:solidFill>
                <a:latin typeface="黑体" panose="02010609060101010101" charset="-122"/>
                <a:ea typeface="黑体" panose="02010609060101010101" charset="-122"/>
                <a:cs typeface="黑体" panose="02010609060101010101" charset="-122"/>
              </a:rPr>
              <a:t>第八届中国开源年会</a:t>
            </a:r>
          </a:p>
        </p:txBody>
      </p:sp>
      <p:sp>
        <p:nvSpPr>
          <p:cNvPr id="26" name="文本框 25"/>
          <p:cNvSpPr txBox="1"/>
          <p:nvPr userDrawn="1">
            <p:custDataLst>
              <p:tags r:id="rId11"/>
            </p:custDataLst>
          </p:nvPr>
        </p:nvSpPr>
        <p:spPr>
          <a:xfrm>
            <a:off x="5836920" y="6210662"/>
            <a:ext cx="2205275" cy="275590"/>
          </a:xfrm>
          <a:prstGeom prst="rect">
            <a:avLst/>
          </a:prstGeom>
          <a:noFill/>
        </p:spPr>
        <p:txBody>
          <a:bodyPr wrap="square" rtlCol="0">
            <a:spAutoFit/>
          </a:bodyPr>
          <a:lstStyle/>
          <a:p>
            <a:pPr algn="ctr"/>
            <a:r>
              <a:rPr lang="zh-CN" altLang="en-US" sz="1200" dirty="0">
                <a:solidFill>
                  <a:srgbClr val="363E7D"/>
                </a:solidFill>
                <a:latin typeface="黑体" panose="02010609060101010101" charset="-122"/>
                <a:ea typeface="黑体" panose="02010609060101010101" charset="-122"/>
                <a:sym typeface="+mn-ea"/>
              </a:rPr>
              <a:t>开源：川流不息、山海相映</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hf hdr="0" ftr="0" dt="0"/>
  <p:txStyles>
    <p:title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jpeg"/><Relationship Id="rId18" Type="http://schemas.openxmlformats.org/officeDocument/2006/relationships/image" Target="../media/image62.png"/><Relationship Id="rId3" Type="http://schemas.openxmlformats.org/officeDocument/2006/relationships/image" Target="../media/image47.png"/><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5.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72.jpeg"/><Relationship Id="rId13" Type="http://schemas.microsoft.com/office/2007/relationships/diagramDrawing" Target="../diagrams/drawing1.xml"/><Relationship Id="rId18" Type="http://schemas.openxmlformats.org/officeDocument/2006/relationships/image" Target="../media/image65.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diagramColors" Target="../diagrams/colors1.xml"/><Relationship Id="rId17" Type="http://schemas.openxmlformats.org/officeDocument/2006/relationships/image" Target="../media/image76.png"/><Relationship Id="rId2" Type="http://schemas.openxmlformats.org/officeDocument/2006/relationships/image" Target="../media/image66.png"/><Relationship Id="rId16" Type="http://schemas.openxmlformats.org/officeDocument/2006/relationships/image" Target="../media/image75.png"/><Relationship Id="rId1" Type="http://schemas.openxmlformats.org/officeDocument/2006/relationships/slideLayout" Target="../slideLayouts/slideLayout5.xml"/><Relationship Id="rId6" Type="http://schemas.openxmlformats.org/officeDocument/2006/relationships/image" Target="../media/image70.png"/><Relationship Id="rId11" Type="http://schemas.openxmlformats.org/officeDocument/2006/relationships/diagramQuickStyle" Target="../diagrams/quickStyle1.xml"/><Relationship Id="rId5" Type="http://schemas.openxmlformats.org/officeDocument/2006/relationships/image" Target="../media/image69.png"/><Relationship Id="rId15" Type="http://schemas.openxmlformats.org/officeDocument/2006/relationships/image" Target="../media/image74.png"/><Relationship Id="rId10" Type="http://schemas.openxmlformats.org/officeDocument/2006/relationships/diagramLayout" Target="../diagrams/layout1.xml"/><Relationship Id="rId19" Type="http://schemas.openxmlformats.org/officeDocument/2006/relationships/image" Target="../media/image77.png"/><Relationship Id="rId4" Type="http://schemas.openxmlformats.org/officeDocument/2006/relationships/image" Target="../media/image68.png"/><Relationship Id="rId9" Type="http://schemas.openxmlformats.org/officeDocument/2006/relationships/diagramData" Target="../diagrams/data1.xml"/><Relationship Id="rId14" Type="http://schemas.openxmlformats.org/officeDocument/2006/relationships/image" Target="../media/image73.png"/></Relationships>
</file>

<file path=ppt/slides/_rels/slide1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46.xml"/><Relationship Id="rId7" Type="http://schemas.openxmlformats.org/officeDocument/2006/relationships/notesSlide" Target="../notesSlides/notesSlide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7.xml"/><Relationship Id="rId5" Type="http://schemas.openxmlformats.org/officeDocument/2006/relationships/tags" Target="../tags/tag48.xml"/><Relationship Id="rId10" Type="http://schemas.openxmlformats.org/officeDocument/2006/relationships/image" Target="../media/image79.png"/><Relationship Id="rId4" Type="http://schemas.openxmlformats.org/officeDocument/2006/relationships/tags" Target="../tags/tag47.xml"/><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1.xml"/><Relationship Id="rId7" Type="http://schemas.openxmlformats.org/officeDocument/2006/relationships/image" Target="../media/image14.png"/><Relationship Id="rId2" Type="http://schemas.openxmlformats.org/officeDocument/2006/relationships/slideLayout" Target="../slideLayouts/slideLayout8.xml"/><Relationship Id="rId1" Type="http://schemas.openxmlformats.org/officeDocument/2006/relationships/tags" Target="../tags/tag33.xml"/><Relationship Id="rId6" Type="http://schemas.openxmlformats.org/officeDocument/2006/relationships/image" Target="../media/image13.jp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png"/><Relationship Id="rId9" Type="http://schemas.openxmlformats.org/officeDocument/2006/relationships/image" Target="../media/image16.jpeg"/></Relationships>
</file>

<file path=ppt/slides/_rels/slide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chart" Target="../charts/chart2.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chart" Target="../charts/char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5.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chart" Target="../charts/chart3.xml"/></Relationships>
</file>

<file path=ppt/slides/_rels/slide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chart" Target="../charts/chart5.xml"/><Relationship Id="rId7" Type="http://schemas.openxmlformats.org/officeDocument/2006/relationships/image" Target="../media/image35.png"/><Relationship Id="rId2" Type="http://schemas.openxmlformats.org/officeDocument/2006/relationships/chart" Target="../charts/chart4.xml"/><Relationship Id="rId1" Type="http://schemas.openxmlformats.org/officeDocument/2006/relationships/slideLayout" Target="../slideLayouts/slideLayout5.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chart" Target="../charts/chart6.xml"/><Relationship Id="rId9"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pPr algn="l">
              <a:lnSpc>
                <a:spcPct val="100000"/>
              </a:lnSpc>
            </a:pPr>
            <a:r>
              <a:rPr lang="zh-CN" altLang="en-US" b="1" dirty="0">
                <a:solidFill>
                  <a:srgbClr val="363E7D"/>
                </a:solidFill>
              </a:rPr>
              <a:t>开源商业化回顾与展望</a:t>
            </a:r>
            <a:endParaRPr lang="zh-CN" altLang="en-US" b="1" dirty="0">
              <a:solidFill>
                <a:srgbClr val="363E7D"/>
              </a:solidFill>
              <a:latin typeface="黑体" panose="02010609060101010101" charset="-122"/>
              <a:ea typeface="黑体" panose="02010609060101010101" charset="-122"/>
              <a:cs typeface="黑体" panose="02010609060101010101" charset="-122"/>
            </a:endParaRPr>
          </a:p>
        </p:txBody>
      </p:sp>
      <p:sp>
        <p:nvSpPr>
          <p:cNvPr id="14" name="副标题 13"/>
          <p:cNvSpPr>
            <a:spLocks noGrp="1"/>
          </p:cNvSpPr>
          <p:nvPr>
            <p:ph type="subTitle" idx="4294967295"/>
          </p:nvPr>
        </p:nvSpPr>
        <p:spPr>
          <a:xfrm>
            <a:off x="756920" y="3799840"/>
            <a:ext cx="6416040" cy="482600"/>
          </a:xfrm>
        </p:spPr>
        <p:txBody>
          <a:bodyPr>
            <a:normAutofit/>
          </a:bodyPr>
          <a:lstStyle/>
          <a:p>
            <a:pPr algn="l"/>
            <a:r>
              <a:rPr lang="zh-CN" altLang="en-US" b="1" dirty="0">
                <a:solidFill>
                  <a:srgbClr val="363E7D"/>
                </a:solidFill>
                <a:latin typeface="黑体" panose="02010609060101010101" charset="-122"/>
                <a:ea typeface="黑体" panose="02010609060101010101" charset="-122"/>
                <a:cs typeface="黑体" panose="02010609060101010101" charset="-122"/>
              </a:rPr>
              <a:t>徐至行</a:t>
            </a:r>
            <a:r>
              <a:rPr lang="en-US" altLang="zh-CN" b="1" dirty="0">
                <a:solidFill>
                  <a:srgbClr val="363E7D"/>
                </a:solidFill>
                <a:latin typeface="黑体" panose="02010609060101010101" charset="-122"/>
                <a:ea typeface="黑体" panose="02010609060101010101" charset="-122"/>
                <a:cs typeface="黑体" panose="02010609060101010101" charset="-122"/>
              </a:rPr>
              <a:t>   </a:t>
            </a:r>
            <a:r>
              <a:rPr lang="zh-CN" altLang="en-US" b="1" dirty="0">
                <a:solidFill>
                  <a:srgbClr val="363E7D"/>
                </a:solidFill>
                <a:cs typeface="黑体" panose="02010609060101010101" charset="-122"/>
              </a:rPr>
              <a:t>云启资本</a:t>
            </a:r>
            <a:endParaRPr lang="zh-CN" altLang="en-US" b="1" dirty="0">
              <a:solidFill>
                <a:srgbClr val="363E7D"/>
              </a:solidFill>
              <a:latin typeface="黑体" panose="02010609060101010101" charset="-122"/>
              <a:ea typeface="黑体" panose="02010609060101010101" charset="-122"/>
              <a:cs typeface="黑体" panose="02010609060101010101"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979997" y="4191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900" i="1" dirty="0">
                <a:solidFill>
                  <a:srgbClr val="445185"/>
                </a:solidFill>
                <a:latin typeface="黑体" panose="02010609060101010101" charset="-122"/>
                <a:ea typeface="黑体" panose="02010609060101010101" charset="-122"/>
              </a:rPr>
              <a:t>开源是助推大模型发展的第二动力</a:t>
            </a:r>
          </a:p>
        </p:txBody>
      </p:sp>
      <p:sp>
        <p:nvSpPr>
          <p:cNvPr id="11" name="矩形: 圆角 10">
            <a:extLst>
              <a:ext uri="{FF2B5EF4-FFF2-40B4-BE49-F238E27FC236}">
                <a16:creationId xmlns:a16="http://schemas.microsoft.com/office/drawing/2014/main" id="{7CE189A1-5DBD-4DA0-AE81-A314FD338670}"/>
              </a:ext>
            </a:extLst>
          </p:cNvPr>
          <p:cNvSpPr/>
          <p:nvPr/>
        </p:nvSpPr>
        <p:spPr>
          <a:xfrm>
            <a:off x="1090833" y="1214562"/>
            <a:ext cx="5005167"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大模型的必要性</a:t>
            </a:r>
          </a:p>
        </p:txBody>
      </p:sp>
      <p:sp>
        <p:nvSpPr>
          <p:cNvPr id="12" name="文本框 11">
            <a:extLst>
              <a:ext uri="{FF2B5EF4-FFF2-40B4-BE49-F238E27FC236}">
                <a16:creationId xmlns:a16="http://schemas.microsoft.com/office/drawing/2014/main" id="{835C7D22-B05A-4019-BC43-8A139B191A18}"/>
              </a:ext>
            </a:extLst>
          </p:cNvPr>
          <p:cNvSpPr txBox="1"/>
          <p:nvPr/>
        </p:nvSpPr>
        <p:spPr>
          <a:xfrm>
            <a:off x="1030325" y="4755374"/>
            <a:ext cx="5005167" cy="888064"/>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大模型生态发展逻辑的驱使：</a:t>
            </a:r>
            <a:r>
              <a:rPr lang="zh-CN" altLang="en-US" sz="1400" dirty="0">
                <a:solidFill>
                  <a:srgbClr val="000000"/>
                </a:solidFill>
                <a:latin typeface="AAAAAH+NotoSansCJKsc-Light"/>
              </a:rPr>
              <a:t>大模型需要更多的贡献者充分发掘模型在应用层的能力，并且给予运营侧反馈以进行调整。使用者参与的数量也直接决定了大模型的商业化落地前景。</a:t>
            </a:r>
            <a:endParaRPr lang="en-US" altLang="zh-CN" sz="1400" dirty="0">
              <a:solidFill>
                <a:srgbClr val="000000"/>
              </a:solidFill>
              <a:latin typeface="AAAAAH+NotoSansCJKsc-Light"/>
            </a:endParaRPr>
          </a:p>
        </p:txBody>
      </p:sp>
      <p:sp>
        <p:nvSpPr>
          <p:cNvPr id="6" name="矩形: 圆角 5">
            <a:extLst>
              <a:ext uri="{FF2B5EF4-FFF2-40B4-BE49-F238E27FC236}">
                <a16:creationId xmlns:a16="http://schemas.microsoft.com/office/drawing/2014/main" id="{D150FC28-B8B3-406E-BBFA-B344E2F893E2}"/>
              </a:ext>
            </a:extLst>
          </p:cNvPr>
          <p:cNvSpPr/>
          <p:nvPr/>
        </p:nvSpPr>
        <p:spPr>
          <a:xfrm>
            <a:off x="6217014" y="1214562"/>
            <a:ext cx="4884153"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大模型的重要性</a:t>
            </a:r>
          </a:p>
        </p:txBody>
      </p:sp>
      <p:sp>
        <p:nvSpPr>
          <p:cNvPr id="7" name="文本框 6">
            <a:extLst>
              <a:ext uri="{FF2B5EF4-FFF2-40B4-BE49-F238E27FC236}">
                <a16:creationId xmlns:a16="http://schemas.microsoft.com/office/drawing/2014/main" id="{AED73B0E-66F7-49C8-8F19-81D8FFEB6F08}"/>
              </a:ext>
            </a:extLst>
          </p:cNvPr>
          <p:cNvSpPr txBox="1"/>
          <p:nvPr/>
        </p:nvSpPr>
        <p:spPr>
          <a:xfrm>
            <a:off x="1030325" y="1811524"/>
            <a:ext cx="5126182" cy="1146596"/>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通用大模型成本高，开源微调模型成为降本增效新选择：</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a:lnSpc>
                <a:spcPct val="120000"/>
              </a:lnSpc>
            </a:pPr>
            <a:r>
              <a:rPr lang="zh-CN" altLang="en-US" sz="1400" dirty="0">
                <a:solidFill>
                  <a:srgbClr val="000000"/>
                </a:solidFill>
                <a:latin typeface="AAAAAH+NotoSansCJKsc-Light"/>
              </a:rPr>
              <a:t>中小客户需要降低模型使用成本，以</a:t>
            </a:r>
            <a:r>
              <a:rPr lang="en-US" altLang="zh-CN" sz="1400" dirty="0" err="1">
                <a:solidFill>
                  <a:srgbClr val="000000"/>
                </a:solidFill>
                <a:latin typeface="AAAAAH+NotoSansCJKsc-Light"/>
              </a:rPr>
              <a:t>ChatGPT</a:t>
            </a:r>
            <a:r>
              <a:rPr lang="zh-CN" altLang="en-US" sz="1400" dirty="0">
                <a:solidFill>
                  <a:srgbClr val="000000"/>
                </a:solidFill>
                <a:latin typeface="AAAAAH+NotoSansCJKsc-Light"/>
              </a:rPr>
              <a:t>为代表的通用大模型在大数据量的情况下成本过高；而经过行业针对性微调的开源模型可以凭借更低的成本满足广大中小用户的需求。</a:t>
            </a:r>
            <a:endParaRPr lang="en-US" altLang="zh-CN" sz="1400" dirty="0">
              <a:solidFill>
                <a:srgbClr val="000000"/>
              </a:solidFill>
              <a:latin typeface="AAAAAH+NotoSansCJKsc-Light"/>
            </a:endParaRPr>
          </a:p>
        </p:txBody>
      </p:sp>
      <p:pic>
        <p:nvPicPr>
          <p:cNvPr id="13" name="图片 12">
            <a:extLst>
              <a:ext uri="{FF2B5EF4-FFF2-40B4-BE49-F238E27FC236}">
                <a16:creationId xmlns:a16="http://schemas.microsoft.com/office/drawing/2014/main" id="{9D402184-055C-4470-AB4A-65DDF3DB7CD4}"/>
              </a:ext>
            </a:extLst>
          </p:cNvPr>
          <p:cNvPicPr>
            <a:picLocks noChangeAspect="1"/>
          </p:cNvPicPr>
          <p:nvPr/>
        </p:nvPicPr>
        <p:blipFill rotWithShape="1">
          <a:blip r:embed="rId2">
            <a:extLst>
              <a:ext uri="{28A0092B-C50C-407E-A947-70E740481C1C}">
                <a14:useLocalDpi xmlns:a14="http://schemas.microsoft.com/office/drawing/2010/main" val="0"/>
              </a:ext>
            </a:extLst>
          </a:blip>
          <a:srcRect t="18782"/>
          <a:stretch/>
        </p:blipFill>
        <p:spPr>
          <a:xfrm>
            <a:off x="1090833" y="3013704"/>
            <a:ext cx="4892196" cy="1535427"/>
          </a:xfrm>
          <a:prstGeom prst="rect">
            <a:avLst/>
          </a:prstGeom>
        </p:spPr>
      </p:pic>
      <p:sp>
        <p:nvSpPr>
          <p:cNvPr id="18" name="two-credit-cards_77253">
            <a:extLst>
              <a:ext uri="{FF2B5EF4-FFF2-40B4-BE49-F238E27FC236}">
                <a16:creationId xmlns:a16="http://schemas.microsoft.com/office/drawing/2014/main" id="{4E8C58C8-161C-4832-82C6-DE8DA2C12168}"/>
              </a:ext>
            </a:extLst>
          </p:cNvPr>
          <p:cNvSpPr/>
          <p:nvPr/>
        </p:nvSpPr>
        <p:spPr>
          <a:xfrm>
            <a:off x="6500383" y="2211704"/>
            <a:ext cx="609684" cy="435397"/>
          </a:xfrm>
          <a:custGeom>
            <a:avLst/>
            <a:gdLst>
              <a:gd name="connsiteX0" fmla="*/ 327526 w 606016"/>
              <a:gd name="connsiteY0" fmla="*/ 353885 h 432777"/>
              <a:gd name="connsiteX1" fmla="*/ 369168 w 606016"/>
              <a:gd name="connsiteY1" fmla="*/ 353885 h 432777"/>
              <a:gd name="connsiteX2" fmla="*/ 376749 w 606016"/>
              <a:gd name="connsiteY2" fmla="*/ 361343 h 432777"/>
              <a:gd name="connsiteX3" fmla="*/ 376749 w 606016"/>
              <a:gd name="connsiteY3" fmla="*/ 400551 h 432777"/>
              <a:gd name="connsiteX4" fmla="*/ 369168 w 606016"/>
              <a:gd name="connsiteY4" fmla="*/ 408009 h 432777"/>
              <a:gd name="connsiteX5" fmla="*/ 357060 w 606016"/>
              <a:gd name="connsiteY5" fmla="*/ 408009 h 432777"/>
              <a:gd name="connsiteX6" fmla="*/ 349478 w 606016"/>
              <a:gd name="connsiteY6" fmla="*/ 400551 h 432777"/>
              <a:gd name="connsiteX7" fmla="*/ 357060 w 606016"/>
              <a:gd name="connsiteY7" fmla="*/ 392981 h 432777"/>
              <a:gd name="connsiteX8" fmla="*/ 361586 w 606016"/>
              <a:gd name="connsiteY8" fmla="*/ 392981 h 432777"/>
              <a:gd name="connsiteX9" fmla="*/ 361586 w 606016"/>
              <a:gd name="connsiteY9" fmla="*/ 368913 h 432777"/>
              <a:gd name="connsiteX10" fmla="*/ 327526 w 606016"/>
              <a:gd name="connsiteY10" fmla="*/ 368913 h 432777"/>
              <a:gd name="connsiteX11" fmla="*/ 319944 w 606016"/>
              <a:gd name="connsiteY11" fmla="*/ 361343 h 432777"/>
              <a:gd name="connsiteX12" fmla="*/ 327526 w 606016"/>
              <a:gd name="connsiteY12" fmla="*/ 353885 h 432777"/>
              <a:gd name="connsiteX13" fmla="*/ 294010 w 606016"/>
              <a:gd name="connsiteY13" fmla="*/ 353885 h 432777"/>
              <a:gd name="connsiteX14" fmla="*/ 306124 w 606016"/>
              <a:gd name="connsiteY14" fmla="*/ 353885 h 432777"/>
              <a:gd name="connsiteX15" fmla="*/ 313709 w 606016"/>
              <a:gd name="connsiteY15" fmla="*/ 361343 h 432777"/>
              <a:gd name="connsiteX16" fmla="*/ 306124 w 606016"/>
              <a:gd name="connsiteY16" fmla="*/ 368913 h 432777"/>
              <a:gd name="connsiteX17" fmla="*/ 301596 w 606016"/>
              <a:gd name="connsiteY17" fmla="*/ 368913 h 432777"/>
              <a:gd name="connsiteX18" fmla="*/ 301596 w 606016"/>
              <a:gd name="connsiteY18" fmla="*/ 392981 h 432777"/>
              <a:gd name="connsiteX19" fmla="*/ 330917 w 606016"/>
              <a:gd name="connsiteY19" fmla="*/ 392981 h 432777"/>
              <a:gd name="connsiteX20" fmla="*/ 338502 w 606016"/>
              <a:gd name="connsiteY20" fmla="*/ 400551 h 432777"/>
              <a:gd name="connsiteX21" fmla="*/ 330917 w 606016"/>
              <a:gd name="connsiteY21" fmla="*/ 408009 h 432777"/>
              <a:gd name="connsiteX22" fmla="*/ 294010 w 606016"/>
              <a:gd name="connsiteY22" fmla="*/ 408009 h 432777"/>
              <a:gd name="connsiteX23" fmla="*/ 286425 w 606016"/>
              <a:gd name="connsiteY23" fmla="*/ 400551 h 432777"/>
              <a:gd name="connsiteX24" fmla="*/ 286425 w 606016"/>
              <a:gd name="connsiteY24" fmla="*/ 361343 h 432777"/>
              <a:gd name="connsiteX25" fmla="*/ 294010 w 606016"/>
              <a:gd name="connsiteY25" fmla="*/ 353885 h 432777"/>
              <a:gd name="connsiteX26" fmla="*/ 305866 w 606016"/>
              <a:gd name="connsiteY26" fmla="*/ 308512 h 432777"/>
              <a:gd name="connsiteX27" fmla="*/ 362926 w 606016"/>
              <a:gd name="connsiteY27" fmla="*/ 308512 h 432777"/>
              <a:gd name="connsiteX28" fmla="*/ 370398 w 606016"/>
              <a:gd name="connsiteY28" fmla="*/ 316098 h 432777"/>
              <a:gd name="connsiteX29" fmla="*/ 362926 w 606016"/>
              <a:gd name="connsiteY29" fmla="*/ 323684 h 432777"/>
              <a:gd name="connsiteX30" fmla="*/ 305866 w 606016"/>
              <a:gd name="connsiteY30" fmla="*/ 323684 h 432777"/>
              <a:gd name="connsiteX31" fmla="*/ 298280 w 606016"/>
              <a:gd name="connsiteY31" fmla="*/ 316098 h 432777"/>
              <a:gd name="connsiteX32" fmla="*/ 305866 w 606016"/>
              <a:gd name="connsiteY32" fmla="*/ 308512 h 432777"/>
              <a:gd name="connsiteX33" fmla="*/ 217447 w 606016"/>
              <a:gd name="connsiteY33" fmla="*/ 308512 h 432777"/>
              <a:gd name="connsiteX34" fmla="*/ 274395 w 606016"/>
              <a:gd name="connsiteY34" fmla="*/ 308512 h 432777"/>
              <a:gd name="connsiteX35" fmla="*/ 281980 w 606016"/>
              <a:gd name="connsiteY35" fmla="*/ 316098 h 432777"/>
              <a:gd name="connsiteX36" fmla="*/ 274395 w 606016"/>
              <a:gd name="connsiteY36" fmla="*/ 323684 h 432777"/>
              <a:gd name="connsiteX37" fmla="*/ 217447 w 606016"/>
              <a:gd name="connsiteY37" fmla="*/ 323684 h 432777"/>
              <a:gd name="connsiteX38" fmla="*/ 209862 w 606016"/>
              <a:gd name="connsiteY38" fmla="*/ 316098 h 432777"/>
              <a:gd name="connsiteX39" fmla="*/ 217447 w 606016"/>
              <a:gd name="connsiteY39" fmla="*/ 308512 h 432777"/>
              <a:gd name="connsiteX40" fmla="*/ 129028 w 606016"/>
              <a:gd name="connsiteY40" fmla="*/ 308512 h 432777"/>
              <a:gd name="connsiteX41" fmla="*/ 185975 w 606016"/>
              <a:gd name="connsiteY41" fmla="*/ 308512 h 432777"/>
              <a:gd name="connsiteX42" fmla="*/ 193561 w 606016"/>
              <a:gd name="connsiteY42" fmla="*/ 316098 h 432777"/>
              <a:gd name="connsiteX43" fmla="*/ 185975 w 606016"/>
              <a:gd name="connsiteY43" fmla="*/ 323684 h 432777"/>
              <a:gd name="connsiteX44" fmla="*/ 129028 w 606016"/>
              <a:gd name="connsiteY44" fmla="*/ 323684 h 432777"/>
              <a:gd name="connsiteX45" fmla="*/ 121443 w 606016"/>
              <a:gd name="connsiteY45" fmla="*/ 316098 h 432777"/>
              <a:gd name="connsiteX46" fmla="*/ 129028 w 606016"/>
              <a:gd name="connsiteY46" fmla="*/ 308512 h 432777"/>
              <a:gd name="connsiteX47" fmla="*/ 40497 w 606016"/>
              <a:gd name="connsiteY47" fmla="*/ 308512 h 432777"/>
              <a:gd name="connsiteX48" fmla="*/ 97557 w 606016"/>
              <a:gd name="connsiteY48" fmla="*/ 308512 h 432777"/>
              <a:gd name="connsiteX49" fmla="*/ 105143 w 606016"/>
              <a:gd name="connsiteY49" fmla="*/ 316098 h 432777"/>
              <a:gd name="connsiteX50" fmla="*/ 97557 w 606016"/>
              <a:gd name="connsiteY50" fmla="*/ 323684 h 432777"/>
              <a:gd name="connsiteX51" fmla="*/ 40497 w 606016"/>
              <a:gd name="connsiteY51" fmla="*/ 323684 h 432777"/>
              <a:gd name="connsiteX52" fmla="*/ 33025 w 606016"/>
              <a:gd name="connsiteY52" fmla="*/ 316098 h 432777"/>
              <a:gd name="connsiteX53" fmla="*/ 40497 w 606016"/>
              <a:gd name="connsiteY53" fmla="*/ 308512 h 432777"/>
              <a:gd name="connsiteX54" fmla="*/ 107779 w 606016"/>
              <a:gd name="connsiteY54" fmla="*/ 251126 h 432777"/>
              <a:gd name="connsiteX55" fmla="*/ 107779 w 606016"/>
              <a:gd name="connsiteY55" fmla="*/ 267640 h 432777"/>
              <a:gd name="connsiteX56" fmla="*/ 113555 w 606016"/>
              <a:gd name="connsiteY56" fmla="*/ 267640 h 432777"/>
              <a:gd name="connsiteX57" fmla="*/ 120351 w 606016"/>
              <a:gd name="connsiteY57" fmla="*/ 260853 h 432777"/>
              <a:gd name="connsiteX58" fmla="*/ 120351 w 606016"/>
              <a:gd name="connsiteY58" fmla="*/ 251126 h 432777"/>
              <a:gd name="connsiteX59" fmla="*/ 52393 w 606016"/>
              <a:gd name="connsiteY59" fmla="*/ 251126 h 432777"/>
              <a:gd name="connsiteX60" fmla="*/ 52393 w 606016"/>
              <a:gd name="connsiteY60" fmla="*/ 260853 h 432777"/>
              <a:gd name="connsiteX61" fmla="*/ 59189 w 606016"/>
              <a:gd name="connsiteY61" fmla="*/ 267640 h 432777"/>
              <a:gd name="connsiteX62" fmla="*/ 64965 w 606016"/>
              <a:gd name="connsiteY62" fmla="*/ 267640 h 432777"/>
              <a:gd name="connsiteX63" fmla="*/ 64965 w 606016"/>
              <a:gd name="connsiteY63" fmla="*/ 251126 h 432777"/>
              <a:gd name="connsiteX64" fmla="*/ 107779 w 606016"/>
              <a:gd name="connsiteY64" fmla="*/ 220925 h 432777"/>
              <a:gd name="connsiteX65" fmla="*/ 107779 w 606016"/>
              <a:gd name="connsiteY65" fmla="*/ 236082 h 432777"/>
              <a:gd name="connsiteX66" fmla="*/ 120351 w 606016"/>
              <a:gd name="connsiteY66" fmla="*/ 236082 h 432777"/>
              <a:gd name="connsiteX67" fmla="*/ 120351 w 606016"/>
              <a:gd name="connsiteY67" fmla="*/ 227712 h 432777"/>
              <a:gd name="connsiteX68" fmla="*/ 113555 w 606016"/>
              <a:gd name="connsiteY68" fmla="*/ 220925 h 432777"/>
              <a:gd name="connsiteX69" fmla="*/ 80142 w 606016"/>
              <a:gd name="connsiteY69" fmla="*/ 220925 h 432777"/>
              <a:gd name="connsiteX70" fmla="*/ 80142 w 606016"/>
              <a:gd name="connsiteY70" fmla="*/ 267640 h 432777"/>
              <a:gd name="connsiteX71" fmla="*/ 92714 w 606016"/>
              <a:gd name="connsiteY71" fmla="*/ 267640 h 432777"/>
              <a:gd name="connsiteX72" fmla="*/ 92714 w 606016"/>
              <a:gd name="connsiteY72" fmla="*/ 220925 h 432777"/>
              <a:gd name="connsiteX73" fmla="*/ 59189 w 606016"/>
              <a:gd name="connsiteY73" fmla="*/ 220925 h 432777"/>
              <a:gd name="connsiteX74" fmla="*/ 52393 w 606016"/>
              <a:gd name="connsiteY74" fmla="*/ 227712 h 432777"/>
              <a:gd name="connsiteX75" fmla="*/ 52393 w 606016"/>
              <a:gd name="connsiteY75" fmla="*/ 236082 h 432777"/>
              <a:gd name="connsiteX76" fmla="*/ 64965 w 606016"/>
              <a:gd name="connsiteY76" fmla="*/ 236082 h 432777"/>
              <a:gd name="connsiteX77" fmla="*/ 64965 w 606016"/>
              <a:gd name="connsiteY77" fmla="*/ 220925 h 432777"/>
              <a:gd name="connsiteX78" fmla="*/ 59189 w 606016"/>
              <a:gd name="connsiteY78" fmla="*/ 205768 h 432777"/>
              <a:gd name="connsiteX79" fmla="*/ 113555 w 606016"/>
              <a:gd name="connsiteY79" fmla="*/ 205768 h 432777"/>
              <a:gd name="connsiteX80" fmla="*/ 135415 w 606016"/>
              <a:gd name="connsiteY80" fmla="*/ 227712 h 432777"/>
              <a:gd name="connsiteX81" fmla="*/ 135415 w 606016"/>
              <a:gd name="connsiteY81" fmla="*/ 260853 h 432777"/>
              <a:gd name="connsiteX82" fmla="*/ 113555 w 606016"/>
              <a:gd name="connsiteY82" fmla="*/ 282684 h 432777"/>
              <a:gd name="connsiteX83" fmla="*/ 59189 w 606016"/>
              <a:gd name="connsiteY83" fmla="*/ 282684 h 432777"/>
              <a:gd name="connsiteX84" fmla="*/ 37329 w 606016"/>
              <a:gd name="connsiteY84" fmla="*/ 260853 h 432777"/>
              <a:gd name="connsiteX85" fmla="*/ 37329 w 606016"/>
              <a:gd name="connsiteY85" fmla="*/ 227712 h 432777"/>
              <a:gd name="connsiteX86" fmla="*/ 59189 w 606016"/>
              <a:gd name="connsiteY86" fmla="*/ 205768 h 432777"/>
              <a:gd name="connsiteX87" fmla="*/ 474795 w 606016"/>
              <a:gd name="connsiteY87" fmla="*/ 187226 h 432777"/>
              <a:gd name="connsiteX88" fmla="*/ 479662 w 606016"/>
              <a:gd name="connsiteY88" fmla="*/ 196728 h 432777"/>
              <a:gd name="connsiteX89" fmla="*/ 478644 w 606016"/>
              <a:gd name="connsiteY89" fmla="*/ 203176 h 432777"/>
              <a:gd name="connsiteX90" fmla="*/ 499360 w 606016"/>
              <a:gd name="connsiteY90" fmla="*/ 223876 h 432777"/>
              <a:gd name="connsiteX91" fmla="*/ 516228 w 606016"/>
              <a:gd name="connsiteY91" fmla="*/ 215166 h 432777"/>
              <a:gd name="connsiteX92" fmla="*/ 522454 w 606016"/>
              <a:gd name="connsiteY92" fmla="*/ 211998 h 432777"/>
              <a:gd name="connsiteX93" fmla="*/ 528567 w 606016"/>
              <a:gd name="connsiteY93" fmla="*/ 215166 h 432777"/>
              <a:gd name="connsiteX94" fmla="*/ 541812 w 606016"/>
              <a:gd name="connsiteY94" fmla="*/ 223536 h 432777"/>
              <a:gd name="connsiteX95" fmla="*/ 547925 w 606016"/>
              <a:gd name="connsiteY95" fmla="*/ 232246 h 432777"/>
              <a:gd name="connsiteX96" fmla="*/ 539208 w 606016"/>
              <a:gd name="connsiteY96" fmla="*/ 238467 h 432777"/>
              <a:gd name="connsiteX97" fmla="*/ 522454 w 606016"/>
              <a:gd name="connsiteY97" fmla="*/ 230549 h 432777"/>
              <a:gd name="connsiteX98" fmla="*/ 499360 w 606016"/>
              <a:gd name="connsiteY98" fmla="*/ 238920 h 432777"/>
              <a:gd name="connsiteX99" fmla="*/ 463474 w 606016"/>
              <a:gd name="connsiteY99" fmla="*/ 203176 h 432777"/>
              <a:gd name="connsiteX100" fmla="*/ 465286 w 606016"/>
              <a:gd name="connsiteY100" fmla="*/ 191977 h 432777"/>
              <a:gd name="connsiteX101" fmla="*/ 474795 w 606016"/>
              <a:gd name="connsiteY101" fmla="*/ 187226 h 432777"/>
              <a:gd name="connsiteX102" fmla="*/ 499359 w 606016"/>
              <a:gd name="connsiteY102" fmla="*/ 167381 h 432777"/>
              <a:gd name="connsiteX103" fmla="*/ 522452 w 606016"/>
              <a:gd name="connsiteY103" fmla="*/ 175745 h 432777"/>
              <a:gd name="connsiteX104" fmla="*/ 545433 w 606016"/>
              <a:gd name="connsiteY104" fmla="*/ 167381 h 432777"/>
              <a:gd name="connsiteX105" fmla="*/ 581318 w 606016"/>
              <a:gd name="connsiteY105" fmla="*/ 203212 h 432777"/>
              <a:gd name="connsiteX106" fmla="*/ 570790 w 606016"/>
              <a:gd name="connsiteY106" fmla="*/ 228530 h 432777"/>
              <a:gd name="connsiteX107" fmla="*/ 565470 w 606016"/>
              <a:gd name="connsiteY107" fmla="*/ 230678 h 432777"/>
              <a:gd name="connsiteX108" fmla="*/ 560149 w 606016"/>
              <a:gd name="connsiteY108" fmla="*/ 228530 h 432777"/>
              <a:gd name="connsiteX109" fmla="*/ 560149 w 606016"/>
              <a:gd name="connsiteY109" fmla="*/ 217793 h 432777"/>
              <a:gd name="connsiteX110" fmla="*/ 566262 w 606016"/>
              <a:gd name="connsiteY110" fmla="*/ 203212 h 432777"/>
              <a:gd name="connsiteX111" fmla="*/ 545433 w 606016"/>
              <a:gd name="connsiteY111" fmla="*/ 182414 h 432777"/>
              <a:gd name="connsiteX112" fmla="*/ 528565 w 606016"/>
              <a:gd name="connsiteY112" fmla="*/ 191117 h 432777"/>
              <a:gd name="connsiteX113" fmla="*/ 522452 w 606016"/>
              <a:gd name="connsiteY113" fmla="*/ 194282 h 432777"/>
              <a:gd name="connsiteX114" fmla="*/ 516226 w 606016"/>
              <a:gd name="connsiteY114" fmla="*/ 191117 h 432777"/>
              <a:gd name="connsiteX115" fmla="*/ 499359 w 606016"/>
              <a:gd name="connsiteY115" fmla="*/ 182414 h 432777"/>
              <a:gd name="connsiteX116" fmla="*/ 491321 w 606016"/>
              <a:gd name="connsiteY116" fmla="*/ 184109 h 432777"/>
              <a:gd name="connsiteX117" fmla="*/ 481359 w 606016"/>
              <a:gd name="connsiteY117" fmla="*/ 180040 h 432777"/>
              <a:gd name="connsiteX118" fmla="*/ 485434 w 606016"/>
              <a:gd name="connsiteY118" fmla="*/ 170207 h 432777"/>
              <a:gd name="connsiteX119" fmla="*/ 499359 w 606016"/>
              <a:gd name="connsiteY119" fmla="*/ 167381 h 432777"/>
              <a:gd name="connsiteX120" fmla="*/ 511733 w 606016"/>
              <a:gd name="connsiteY120" fmla="*/ 136191 h 432777"/>
              <a:gd name="connsiteX121" fmla="*/ 568794 w 606016"/>
              <a:gd name="connsiteY121" fmla="*/ 136191 h 432777"/>
              <a:gd name="connsiteX122" fmla="*/ 576379 w 606016"/>
              <a:gd name="connsiteY122" fmla="*/ 143763 h 432777"/>
              <a:gd name="connsiteX123" fmla="*/ 568794 w 606016"/>
              <a:gd name="connsiteY123" fmla="*/ 151221 h 432777"/>
              <a:gd name="connsiteX124" fmla="*/ 511733 w 606016"/>
              <a:gd name="connsiteY124" fmla="*/ 151221 h 432777"/>
              <a:gd name="connsiteX125" fmla="*/ 504261 w 606016"/>
              <a:gd name="connsiteY125" fmla="*/ 143763 h 432777"/>
              <a:gd name="connsiteX126" fmla="*/ 511733 w 606016"/>
              <a:gd name="connsiteY126" fmla="*/ 136191 h 432777"/>
              <a:gd name="connsiteX127" fmla="*/ 423287 w 606016"/>
              <a:gd name="connsiteY127" fmla="*/ 136191 h 432777"/>
              <a:gd name="connsiteX128" fmla="*/ 480347 w 606016"/>
              <a:gd name="connsiteY128" fmla="*/ 136191 h 432777"/>
              <a:gd name="connsiteX129" fmla="*/ 487819 w 606016"/>
              <a:gd name="connsiteY129" fmla="*/ 143763 h 432777"/>
              <a:gd name="connsiteX130" fmla="*/ 480347 w 606016"/>
              <a:gd name="connsiteY130" fmla="*/ 151221 h 432777"/>
              <a:gd name="connsiteX131" fmla="*/ 423287 w 606016"/>
              <a:gd name="connsiteY131" fmla="*/ 151221 h 432777"/>
              <a:gd name="connsiteX132" fmla="*/ 415701 w 606016"/>
              <a:gd name="connsiteY132" fmla="*/ 143763 h 432777"/>
              <a:gd name="connsiteX133" fmla="*/ 423287 w 606016"/>
              <a:gd name="connsiteY133" fmla="*/ 136191 h 432777"/>
              <a:gd name="connsiteX134" fmla="*/ 334869 w 606016"/>
              <a:gd name="connsiteY134" fmla="*/ 136191 h 432777"/>
              <a:gd name="connsiteX135" fmla="*/ 391929 w 606016"/>
              <a:gd name="connsiteY135" fmla="*/ 136191 h 432777"/>
              <a:gd name="connsiteX136" fmla="*/ 399401 w 606016"/>
              <a:gd name="connsiteY136" fmla="*/ 143763 h 432777"/>
              <a:gd name="connsiteX137" fmla="*/ 391929 w 606016"/>
              <a:gd name="connsiteY137" fmla="*/ 151221 h 432777"/>
              <a:gd name="connsiteX138" fmla="*/ 334869 w 606016"/>
              <a:gd name="connsiteY138" fmla="*/ 151221 h 432777"/>
              <a:gd name="connsiteX139" fmla="*/ 327283 w 606016"/>
              <a:gd name="connsiteY139" fmla="*/ 143763 h 432777"/>
              <a:gd name="connsiteX140" fmla="*/ 334869 w 606016"/>
              <a:gd name="connsiteY140" fmla="*/ 136191 h 432777"/>
              <a:gd name="connsiteX141" fmla="*/ 246450 w 606016"/>
              <a:gd name="connsiteY141" fmla="*/ 136191 h 432777"/>
              <a:gd name="connsiteX142" fmla="*/ 303397 w 606016"/>
              <a:gd name="connsiteY142" fmla="*/ 136191 h 432777"/>
              <a:gd name="connsiteX143" fmla="*/ 310982 w 606016"/>
              <a:gd name="connsiteY143" fmla="*/ 143763 h 432777"/>
              <a:gd name="connsiteX144" fmla="*/ 303397 w 606016"/>
              <a:gd name="connsiteY144" fmla="*/ 151221 h 432777"/>
              <a:gd name="connsiteX145" fmla="*/ 246450 w 606016"/>
              <a:gd name="connsiteY145" fmla="*/ 151221 h 432777"/>
              <a:gd name="connsiteX146" fmla="*/ 238864 w 606016"/>
              <a:gd name="connsiteY146" fmla="*/ 143763 h 432777"/>
              <a:gd name="connsiteX147" fmla="*/ 246450 w 606016"/>
              <a:gd name="connsiteY147" fmla="*/ 136191 h 432777"/>
              <a:gd name="connsiteX148" fmla="*/ 314606 w 606016"/>
              <a:gd name="connsiteY148" fmla="*/ 80882 h 432777"/>
              <a:gd name="connsiteX149" fmla="*/ 314606 w 606016"/>
              <a:gd name="connsiteY149" fmla="*/ 97268 h 432777"/>
              <a:gd name="connsiteX150" fmla="*/ 320382 w 606016"/>
              <a:gd name="connsiteY150" fmla="*/ 97268 h 432777"/>
              <a:gd name="connsiteX151" fmla="*/ 327178 w 606016"/>
              <a:gd name="connsiteY151" fmla="*/ 90487 h 432777"/>
              <a:gd name="connsiteX152" fmla="*/ 327178 w 606016"/>
              <a:gd name="connsiteY152" fmla="*/ 80882 h 432777"/>
              <a:gd name="connsiteX153" fmla="*/ 259334 w 606016"/>
              <a:gd name="connsiteY153" fmla="*/ 80882 h 432777"/>
              <a:gd name="connsiteX154" fmla="*/ 259334 w 606016"/>
              <a:gd name="connsiteY154" fmla="*/ 90487 h 432777"/>
              <a:gd name="connsiteX155" fmla="*/ 266016 w 606016"/>
              <a:gd name="connsiteY155" fmla="*/ 97268 h 432777"/>
              <a:gd name="connsiteX156" fmla="*/ 271792 w 606016"/>
              <a:gd name="connsiteY156" fmla="*/ 97268 h 432777"/>
              <a:gd name="connsiteX157" fmla="*/ 271792 w 606016"/>
              <a:gd name="connsiteY157" fmla="*/ 80882 h 432777"/>
              <a:gd name="connsiteX158" fmla="*/ 314606 w 606016"/>
              <a:gd name="connsiteY158" fmla="*/ 50595 h 432777"/>
              <a:gd name="connsiteX159" fmla="*/ 314606 w 606016"/>
              <a:gd name="connsiteY159" fmla="*/ 65738 h 432777"/>
              <a:gd name="connsiteX160" fmla="*/ 327178 w 606016"/>
              <a:gd name="connsiteY160" fmla="*/ 65738 h 432777"/>
              <a:gd name="connsiteX161" fmla="*/ 327178 w 606016"/>
              <a:gd name="connsiteY161" fmla="*/ 57376 h 432777"/>
              <a:gd name="connsiteX162" fmla="*/ 320382 w 606016"/>
              <a:gd name="connsiteY162" fmla="*/ 50595 h 432777"/>
              <a:gd name="connsiteX163" fmla="*/ 286970 w 606016"/>
              <a:gd name="connsiteY163" fmla="*/ 50595 h 432777"/>
              <a:gd name="connsiteX164" fmla="*/ 286970 w 606016"/>
              <a:gd name="connsiteY164" fmla="*/ 97268 h 432777"/>
              <a:gd name="connsiteX165" fmla="*/ 299542 w 606016"/>
              <a:gd name="connsiteY165" fmla="*/ 97268 h 432777"/>
              <a:gd name="connsiteX166" fmla="*/ 299542 w 606016"/>
              <a:gd name="connsiteY166" fmla="*/ 50595 h 432777"/>
              <a:gd name="connsiteX167" fmla="*/ 266016 w 606016"/>
              <a:gd name="connsiteY167" fmla="*/ 50595 h 432777"/>
              <a:gd name="connsiteX168" fmla="*/ 259334 w 606016"/>
              <a:gd name="connsiteY168" fmla="*/ 57376 h 432777"/>
              <a:gd name="connsiteX169" fmla="*/ 259334 w 606016"/>
              <a:gd name="connsiteY169" fmla="*/ 65738 h 432777"/>
              <a:gd name="connsiteX170" fmla="*/ 271792 w 606016"/>
              <a:gd name="connsiteY170" fmla="*/ 65738 h 432777"/>
              <a:gd name="connsiteX171" fmla="*/ 271792 w 606016"/>
              <a:gd name="connsiteY171" fmla="*/ 50595 h 432777"/>
              <a:gd name="connsiteX172" fmla="*/ 266016 w 606016"/>
              <a:gd name="connsiteY172" fmla="*/ 35565 h 432777"/>
              <a:gd name="connsiteX173" fmla="*/ 320382 w 606016"/>
              <a:gd name="connsiteY173" fmla="*/ 35565 h 432777"/>
              <a:gd name="connsiteX174" fmla="*/ 342242 w 606016"/>
              <a:gd name="connsiteY174" fmla="*/ 57376 h 432777"/>
              <a:gd name="connsiteX175" fmla="*/ 342242 w 606016"/>
              <a:gd name="connsiteY175" fmla="*/ 90487 h 432777"/>
              <a:gd name="connsiteX176" fmla="*/ 320382 w 606016"/>
              <a:gd name="connsiteY176" fmla="*/ 112411 h 432777"/>
              <a:gd name="connsiteX177" fmla="*/ 266016 w 606016"/>
              <a:gd name="connsiteY177" fmla="*/ 112411 h 432777"/>
              <a:gd name="connsiteX178" fmla="*/ 244156 w 606016"/>
              <a:gd name="connsiteY178" fmla="*/ 90487 h 432777"/>
              <a:gd name="connsiteX179" fmla="*/ 244156 w 606016"/>
              <a:gd name="connsiteY179" fmla="*/ 57376 h 432777"/>
              <a:gd name="connsiteX180" fmla="*/ 266016 w 606016"/>
              <a:gd name="connsiteY180" fmla="*/ 35565 h 432777"/>
              <a:gd name="connsiteX181" fmla="*/ 286638 w 606016"/>
              <a:gd name="connsiteY181" fmla="*/ 0 h 432777"/>
              <a:gd name="connsiteX182" fmla="*/ 586543 w 606016"/>
              <a:gd name="connsiteY182" fmla="*/ 0 h 432777"/>
              <a:gd name="connsiteX183" fmla="*/ 606016 w 606016"/>
              <a:gd name="connsiteY183" fmla="*/ 19440 h 432777"/>
              <a:gd name="connsiteX184" fmla="*/ 606016 w 606016"/>
              <a:gd name="connsiteY184" fmla="*/ 244136 h 432777"/>
              <a:gd name="connsiteX185" fmla="*/ 586543 w 606016"/>
              <a:gd name="connsiteY185" fmla="*/ 263577 h 432777"/>
              <a:gd name="connsiteX186" fmla="*/ 401211 w 606016"/>
              <a:gd name="connsiteY186" fmla="*/ 263577 h 432777"/>
              <a:gd name="connsiteX187" fmla="*/ 401211 w 606016"/>
              <a:gd name="connsiteY187" fmla="*/ 413337 h 432777"/>
              <a:gd name="connsiteX188" fmla="*/ 381738 w 606016"/>
              <a:gd name="connsiteY188" fmla="*/ 432777 h 432777"/>
              <a:gd name="connsiteX189" fmla="*/ 113645 w 606016"/>
              <a:gd name="connsiteY189" fmla="*/ 432777 h 432777"/>
              <a:gd name="connsiteX190" fmla="*/ 106060 w 606016"/>
              <a:gd name="connsiteY190" fmla="*/ 425317 h 432777"/>
              <a:gd name="connsiteX191" fmla="*/ 113645 w 606016"/>
              <a:gd name="connsiteY191" fmla="*/ 417745 h 432777"/>
              <a:gd name="connsiteX192" fmla="*/ 381738 w 606016"/>
              <a:gd name="connsiteY192" fmla="*/ 417745 h 432777"/>
              <a:gd name="connsiteX193" fmla="*/ 386153 w 606016"/>
              <a:gd name="connsiteY193" fmla="*/ 413337 h 432777"/>
              <a:gd name="connsiteX194" fmla="*/ 386153 w 606016"/>
              <a:gd name="connsiteY194" fmla="*/ 256117 h 432777"/>
              <a:gd name="connsiteX195" fmla="*/ 386153 w 606016"/>
              <a:gd name="connsiteY195" fmla="*/ 256004 h 432777"/>
              <a:gd name="connsiteX196" fmla="*/ 386153 w 606016"/>
              <a:gd name="connsiteY196" fmla="*/ 188641 h 432777"/>
              <a:gd name="connsiteX197" fmla="*/ 381738 w 606016"/>
              <a:gd name="connsiteY197" fmla="*/ 184233 h 432777"/>
              <a:gd name="connsiteX198" fmla="*/ 295129 w 606016"/>
              <a:gd name="connsiteY198" fmla="*/ 184233 h 432777"/>
              <a:gd name="connsiteX199" fmla="*/ 287543 w 606016"/>
              <a:gd name="connsiteY199" fmla="*/ 176773 h 432777"/>
              <a:gd name="connsiteX200" fmla="*/ 295129 w 606016"/>
              <a:gd name="connsiteY200" fmla="*/ 169200 h 432777"/>
              <a:gd name="connsiteX201" fmla="*/ 381738 w 606016"/>
              <a:gd name="connsiteY201" fmla="*/ 169200 h 432777"/>
              <a:gd name="connsiteX202" fmla="*/ 401211 w 606016"/>
              <a:gd name="connsiteY202" fmla="*/ 188641 h 432777"/>
              <a:gd name="connsiteX203" fmla="*/ 401211 w 606016"/>
              <a:gd name="connsiteY203" fmla="*/ 248544 h 432777"/>
              <a:gd name="connsiteX204" fmla="*/ 586543 w 606016"/>
              <a:gd name="connsiteY204" fmla="*/ 248544 h 432777"/>
              <a:gd name="connsiteX205" fmla="*/ 590959 w 606016"/>
              <a:gd name="connsiteY205" fmla="*/ 244136 h 432777"/>
              <a:gd name="connsiteX206" fmla="*/ 590959 w 606016"/>
              <a:gd name="connsiteY206" fmla="*/ 19440 h 432777"/>
              <a:gd name="connsiteX207" fmla="*/ 586543 w 606016"/>
              <a:gd name="connsiteY207" fmla="*/ 15032 h 432777"/>
              <a:gd name="connsiteX208" fmla="*/ 286638 w 606016"/>
              <a:gd name="connsiteY208" fmla="*/ 15032 h 432777"/>
              <a:gd name="connsiteX209" fmla="*/ 279052 w 606016"/>
              <a:gd name="connsiteY209" fmla="*/ 7573 h 432777"/>
              <a:gd name="connsiteX210" fmla="*/ 286638 w 606016"/>
              <a:gd name="connsiteY210" fmla="*/ 0 h 432777"/>
              <a:gd name="connsiteX211" fmla="*/ 224353 w 606016"/>
              <a:gd name="connsiteY211" fmla="*/ 0 h 432777"/>
              <a:gd name="connsiteX212" fmla="*/ 259330 w 606016"/>
              <a:gd name="connsiteY212" fmla="*/ 0 h 432777"/>
              <a:gd name="connsiteX213" fmla="*/ 266915 w 606016"/>
              <a:gd name="connsiteY213" fmla="*/ 7573 h 432777"/>
              <a:gd name="connsiteX214" fmla="*/ 259330 w 606016"/>
              <a:gd name="connsiteY214" fmla="*/ 15032 h 432777"/>
              <a:gd name="connsiteX215" fmla="*/ 224353 w 606016"/>
              <a:gd name="connsiteY215" fmla="*/ 15032 h 432777"/>
              <a:gd name="connsiteX216" fmla="*/ 219938 w 606016"/>
              <a:gd name="connsiteY216" fmla="*/ 19440 h 432777"/>
              <a:gd name="connsiteX217" fmla="*/ 219938 w 606016"/>
              <a:gd name="connsiteY217" fmla="*/ 169200 h 432777"/>
              <a:gd name="connsiteX218" fmla="*/ 262160 w 606016"/>
              <a:gd name="connsiteY218" fmla="*/ 169200 h 432777"/>
              <a:gd name="connsiteX219" fmla="*/ 269631 w 606016"/>
              <a:gd name="connsiteY219" fmla="*/ 176773 h 432777"/>
              <a:gd name="connsiteX220" fmla="*/ 262160 w 606016"/>
              <a:gd name="connsiteY220" fmla="*/ 184233 h 432777"/>
              <a:gd name="connsiteX221" fmla="*/ 19469 w 606016"/>
              <a:gd name="connsiteY221" fmla="*/ 184233 h 432777"/>
              <a:gd name="connsiteX222" fmla="*/ 15055 w 606016"/>
              <a:gd name="connsiteY222" fmla="*/ 188641 h 432777"/>
              <a:gd name="connsiteX223" fmla="*/ 15055 w 606016"/>
              <a:gd name="connsiteY223" fmla="*/ 413337 h 432777"/>
              <a:gd name="connsiteX224" fmla="*/ 19469 w 606016"/>
              <a:gd name="connsiteY224" fmla="*/ 417745 h 432777"/>
              <a:gd name="connsiteX225" fmla="*/ 83538 w 606016"/>
              <a:gd name="connsiteY225" fmla="*/ 417745 h 432777"/>
              <a:gd name="connsiteX226" fmla="*/ 91009 w 606016"/>
              <a:gd name="connsiteY226" fmla="*/ 425317 h 432777"/>
              <a:gd name="connsiteX227" fmla="*/ 83538 w 606016"/>
              <a:gd name="connsiteY227" fmla="*/ 432777 h 432777"/>
              <a:gd name="connsiteX228" fmla="*/ 19469 w 606016"/>
              <a:gd name="connsiteY228" fmla="*/ 432777 h 432777"/>
              <a:gd name="connsiteX229" fmla="*/ 0 w 606016"/>
              <a:gd name="connsiteY229" fmla="*/ 413337 h 432777"/>
              <a:gd name="connsiteX230" fmla="*/ 0 w 606016"/>
              <a:gd name="connsiteY230" fmla="*/ 188641 h 432777"/>
              <a:gd name="connsiteX231" fmla="*/ 19469 w 606016"/>
              <a:gd name="connsiteY231" fmla="*/ 169200 h 432777"/>
              <a:gd name="connsiteX232" fmla="*/ 204770 w 606016"/>
              <a:gd name="connsiteY232" fmla="*/ 169200 h 432777"/>
              <a:gd name="connsiteX233" fmla="*/ 204770 w 606016"/>
              <a:gd name="connsiteY233" fmla="*/ 19440 h 432777"/>
              <a:gd name="connsiteX234" fmla="*/ 224353 w 606016"/>
              <a:gd name="connsiteY234" fmla="*/ 0 h 43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606016" h="432777">
                <a:moveTo>
                  <a:pt x="327526" y="353885"/>
                </a:moveTo>
                <a:lnTo>
                  <a:pt x="369168" y="353885"/>
                </a:lnTo>
                <a:cubicBezTo>
                  <a:pt x="373355" y="353885"/>
                  <a:pt x="376749" y="357275"/>
                  <a:pt x="376749" y="361343"/>
                </a:cubicBezTo>
                <a:lnTo>
                  <a:pt x="376749" y="400551"/>
                </a:lnTo>
                <a:cubicBezTo>
                  <a:pt x="376749" y="404732"/>
                  <a:pt x="373355" y="408009"/>
                  <a:pt x="369168" y="408009"/>
                </a:cubicBezTo>
                <a:lnTo>
                  <a:pt x="357060" y="408009"/>
                </a:lnTo>
                <a:cubicBezTo>
                  <a:pt x="352873" y="408009"/>
                  <a:pt x="349478" y="404732"/>
                  <a:pt x="349478" y="400551"/>
                </a:cubicBezTo>
                <a:cubicBezTo>
                  <a:pt x="349478" y="396371"/>
                  <a:pt x="352873" y="392981"/>
                  <a:pt x="357060" y="392981"/>
                </a:cubicBezTo>
                <a:lnTo>
                  <a:pt x="361586" y="392981"/>
                </a:lnTo>
                <a:lnTo>
                  <a:pt x="361586" y="368913"/>
                </a:lnTo>
                <a:lnTo>
                  <a:pt x="327526" y="368913"/>
                </a:lnTo>
                <a:cubicBezTo>
                  <a:pt x="323339" y="368913"/>
                  <a:pt x="319944" y="365523"/>
                  <a:pt x="319944" y="361343"/>
                </a:cubicBezTo>
                <a:cubicBezTo>
                  <a:pt x="319944" y="357275"/>
                  <a:pt x="323339" y="353885"/>
                  <a:pt x="327526" y="353885"/>
                </a:cubicBezTo>
                <a:close/>
                <a:moveTo>
                  <a:pt x="294010" y="353885"/>
                </a:moveTo>
                <a:lnTo>
                  <a:pt x="306124" y="353885"/>
                </a:lnTo>
                <a:cubicBezTo>
                  <a:pt x="310313" y="353885"/>
                  <a:pt x="313709" y="357275"/>
                  <a:pt x="313709" y="361343"/>
                </a:cubicBezTo>
                <a:cubicBezTo>
                  <a:pt x="313709" y="365523"/>
                  <a:pt x="310313" y="368913"/>
                  <a:pt x="306124" y="368913"/>
                </a:cubicBezTo>
                <a:lnTo>
                  <a:pt x="301596" y="368913"/>
                </a:lnTo>
                <a:lnTo>
                  <a:pt x="301596" y="392981"/>
                </a:lnTo>
                <a:lnTo>
                  <a:pt x="330917" y="392981"/>
                </a:lnTo>
                <a:cubicBezTo>
                  <a:pt x="335106" y="392981"/>
                  <a:pt x="338502" y="396371"/>
                  <a:pt x="338502" y="400551"/>
                </a:cubicBezTo>
                <a:cubicBezTo>
                  <a:pt x="338502" y="404732"/>
                  <a:pt x="335106" y="408009"/>
                  <a:pt x="330917" y="408009"/>
                </a:cubicBezTo>
                <a:lnTo>
                  <a:pt x="294010" y="408009"/>
                </a:lnTo>
                <a:cubicBezTo>
                  <a:pt x="289822" y="408009"/>
                  <a:pt x="286425" y="404732"/>
                  <a:pt x="286425" y="400551"/>
                </a:cubicBezTo>
                <a:lnTo>
                  <a:pt x="286425" y="361343"/>
                </a:lnTo>
                <a:cubicBezTo>
                  <a:pt x="286425" y="357275"/>
                  <a:pt x="289822" y="353885"/>
                  <a:pt x="294010" y="353885"/>
                </a:cubicBezTo>
                <a:close/>
                <a:moveTo>
                  <a:pt x="305866" y="308512"/>
                </a:moveTo>
                <a:lnTo>
                  <a:pt x="362926" y="308512"/>
                </a:lnTo>
                <a:cubicBezTo>
                  <a:pt x="367115" y="308512"/>
                  <a:pt x="370398" y="311909"/>
                  <a:pt x="370398" y="316098"/>
                </a:cubicBezTo>
                <a:cubicBezTo>
                  <a:pt x="370398" y="320287"/>
                  <a:pt x="367002" y="323684"/>
                  <a:pt x="362926" y="323684"/>
                </a:cubicBezTo>
                <a:lnTo>
                  <a:pt x="305866" y="323684"/>
                </a:lnTo>
                <a:cubicBezTo>
                  <a:pt x="301677" y="323684"/>
                  <a:pt x="298280" y="320287"/>
                  <a:pt x="298280" y="316098"/>
                </a:cubicBezTo>
                <a:cubicBezTo>
                  <a:pt x="298280" y="311909"/>
                  <a:pt x="301677" y="308512"/>
                  <a:pt x="305866" y="308512"/>
                </a:cubicBezTo>
                <a:close/>
                <a:moveTo>
                  <a:pt x="217447" y="308512"/>
                </a:moveTo>
                <a:lnTo>
                  <a:pt x="274395" y="308512"/>
                </a:lnTo>
                <a:cubicBezTo>
                  <a:pt x="278584" y="308512"/>
                  <a:pt x="281980" y="311909"/>
                  <a:pt x="281980" y="316098"/>
                </a:cubicBezTo>
                <a:cubicBezTo>
                  <a:pt x="281980" y="320287"/>
                  <a:pt x="278584" y="323684"/>
                  <a:pt x="274395" y="323684"/>
                </a:cubicBezTo>
                <a:lnTo>
                  <a:pt x="217447" y="323684"/>
                </a:lnTo>
                <a:cubicBezTo>
                  <a:pt x="213258" y="323684"/>
                  <a:pt x="209862" y="320287"/>
                  <a:pt x="209862" y="316098"/>
                </a:cubicBezTo>
                <a:cubicBezTo>
                  <a:pt x="209862" y="311909"/>
                  <a:pt x="213258" y="308512"/>
                  <a:pt x="217447" y="308512"/>
                </a:cubicBezTo>
                <a:close/>
                <a:moveTo>
                  <a:pt x="129028" y="308512"/>
                </a:moveTo>
                <a:lnTo>
                  <a:pt x="185975" y="308512"/>
                </a:lnTo>
                <a:cubicBezTo>
                  <a:pt x="190164" y="308512"/>
                  <a:pt x="193561" y="311909"/>
                  <a:pt x="193561" y="316098"/>
                </a:cubicBezTo>
                <a:cubicBezTo>
                  <a:pt x="193561" y="320287"/>
                  <a:pt x="190164" y="323684"/>
                  <a:pt x="185975" y="323684"/>
                </a:cubicBezTo>
                <a:lnTo>
                  <a:pt x="129028" y="323684"/>
                </a:lnTo>
                <a:cubicBezTo>
                  <a:pt x="124839" y="323684"/>
                  <a:pt x="121443" y="320287"/>
                  <a:pt x="121443" y="316098"/>
                </a:cubicBezTo>
                <a:cubicBezTo>
                  <a:pt x="121443" y="311909"/>
                  <a:pt x="124839" y="308512"/>
                  <a:pt x="129028" y="308512"/>
                </a:cubicBezTo>
                <a:close/>
                <a:moveTo>
                  <a:pt x="40497" y="308512"/>
                </a:moveTo>
                <a:lnTo>
                  <a:pt x="97557" y="308512"/>
                </a:lnTo>
                <a:cubicBezTo>
                  <a:pt x="101746" y="308512"/>
                  <a:pt x="105143" y="311909"/>
                  <a:pt x="105143" y="316098"/>
                </a:cubicBezTo>
                <a:cubicBezTo>
                  <a:pt x="105143" y="320287"/>
                  <a:pt x="101746" y="323684"/>
                  <a:pt x="97557" y="323684"/>
                </a:cubicBezTo>
                <a:lnTo>
                  <a:pt x="40497" y="323684"/>
                </a:lnTo>
                <a:cubicBezTo>
                  <a:pt x="36421" y="323684"/>
                  <a:pt x="33025" y="320287"/>
                  <a:pt x="33025" y="316098"/>
                </a:cubicBezTo>
                <a:cubicBezTo>
                  <a:pt x="33025" y="311909"/>
                  <a:pt x="36421" y="308512"/>
                  <a:pt x="40497" y="308512"/>
                </a:cubicBezTo>
                <a:close/>
                <a:moveTo>
                  <a:pt x="107779" y="251126"/>
                </a:moveTo>
                <a:lnTo>
                  <a:pt x="107779" y="267640"/>
                </a:lnTo>
                <a:lnTo>
                  <a:pt x="113555" y="267640"/>
                </a:lnTo>
                <a:cubicBezTo>
                  <a:pt x="117293" y="267640"/>
                  <a:pt x="120351" y="264586"/>
                  <a:pt x="120351" y="260853"/>
                </a:cubicBezTo>
                <a:lnTo>
                  <a:pt x="120351" y="251126"/>
                </a:lnTo>
                <a:close/>
                <a:moveTo>
                  <a:pt x="52393" y="251126"/>
                </a:moveTo>
                <a:lnTo>
                  <a:pt x="52393" y="260853"/>
                </a:lnTo>
                <a:cubicBezTo>
                  <a:pt x="52393" y="264586"/>
                  <a:pt x="55451" y="267640"/>
                  <a:pt x="59189" y="267640"/>
                </a:cubicBezTo>
                <a:lnTo>
                  <a:pt x="64965" y="267640"/>
                </a:lnTo>
                <a:lnTo>
                  <a:pt x="64965" y="251126"/>
                </a:lnTo>
                <a:close/>
                <a:moveTo>
                  <a:pt x="107779" y="220925"/>
                </a:moveTo>
                <a:lnTo>
                  <a:pt x="107779" y="236082"/>
                </a:lnTo>
                <a:lnTo>
                  <a:pt x="120351" y="236082"/>
                </a:lnTo>
                <a:lnTo>
                  <a:pt x="120351" y="227712"/>
                </a:lnTo>
                <a:cubicBezTo>
                  <a:pt x="120351" y="223979"/>
                  <a:pt x="117293" y="220925"/>
                  <a:pt x="113555" y="220925"/>
                </a:cubicBezTo>
                <a:close/>
                <a:moveTo>
                  <a:pt x="80142" y="220925"/>
                </a:moveTo>
                <a:lnTo>
                  <a:pt x="80142" y="267640"/>
                </a:lnTo>
                <a:lnTo>
                  <a:pt x="92714" y="267640"/>
                </a:lnTo>
                <a:lnTo>
                  <a:pt x="92714" y="220925"/>
                </a:lnTo>
                <a:close/>
                <a:moveTo>
                  <a:pt x="59189" y="220925"/>
                </a:moveTo>
                <a:cubicBezTo>
                  <a:pt x="55451" y="220925"/>
                  <a:pt x="52393" y="223979"/>
                  <a:pt x="52393" y="227712"/>
                </a:cubicBezTo>
                <a:lnTo>
                  <a:pt x="52393" y="236082"/>
                </a:lnTo>
                <a:lnTo>
                  <a:pt x="64965" y="236082"/>
                </a:lnTo>
                <a:lnTo>
                  <a:pt x="64965" y="220925"/>
                </a:lnTo>
                <a:close/>
                <a:moveTo>
                  <a:pt x="59189" y="205768"/>
                </a:moveTo>
                <a:lnTo>
                  <a:pt x="113555" y="205768"/>
                </a:lnTo>
                <a:cubicBezTo>
                  <a:pt x="125561" y="205768"/>
                  <a:pt x="135415" y="215609"/>
                  <a:pt x="135415" y="227712"/>
                </a:cubicBezTo>
                <a:lnTo>
                  <a:pt x="135415" y="260853"/>
                </a:lnTo>
                <a:cubicBezTo>
                  <a:pt x="135415" y="272956"/>
                  <a:pt x="125561" y="282684"/>
                  <a:pt x="113555" y="282684"/>
                </a:cubicBezTo>
                <a:lnTo>
                  <a:pt x="59189" y="282684"/>
                </a:lnTo>
                <a:cubicBezTo>
                  <a:pt x="47183" y="282684"/>
                  <a:pt x="37329" y="272956"/>
                  <a:pt x="37329" y="260853"/>
                </a:cubicBezTo>
                <a:lnTo>
                  <a:pt x="37329" y="227712"/>
                </a:lnTo>
                <a:cubicBezTo>
                  <a:pt x="37329" y="215609"/>
                  <a:pt x="47183" y="205768"/>
                  <a:pt x="59189" y="205768"/>
                </a:cubicBezTo>
                <a:close/>
                <a:moveTo>
                  <a:pt x="474795" y="187226"/>
                </a:moveTo>
                <a:cubicBezTo>
                  <a:pt x="478757" y="188471"/>
                  <a:pt x="480908" y="192769"/>
                  <a:pt x="479662" y="196728"/>
                </a:cubicBezTo>
                <a:cubicBezTo>
                  <a:pt x="478983" y="198764"/>
                  <a:pt x="478644" y="200913"/>
                  <a:pt x="478644" y="203176"/>
                </a:cubicBezTo>
                <a:cubicBezTo>
                  <a:pt x="478644" y="214600"/>
                  <a:pt x="487926" y="223876"/>
                  <a:pt x="499360" y="223876"/>
                </a:cubicBezTo>
                <a:cubicBezTo>
                  <a:pt x="506039" y="223876"/>
                  <a:pt x="512379" y="220595"/>
                  <a:pt x="516228" y="215166"/>
                </a:cubicBezTo>
                <a:cubicBezTo>
                  <a:pt x="517699" y="213130"/>
                  <a:pt x="519963" y="211998"/>
                  <a:pt x="522454" y="211998"/>
                </a:cubicBezTo>
                <a:cubicBezTo>
                  <a:pt x="524831" y="211998"/>
                  <a:pt x="527095" y="213130"/>
                  <a:pt x="528567" y="215166"/>
                </a:cubicBezTo>
                <a:cubicBezTo>
                  <a:pt x="531737" y="219690"/>
                  <a:pt x="536491" y="222631"/>
                  <a:pt x="541812" y="223536"/>
                </a:cubicBezTo>
                <a:cubicBezTo>
                  <a:pt x="546000" y="224328"/>
                  <a:pt x="548717" y="228174"/>
                  <a:pt x="547925" y="232246"/>
                </a:cubicBezTo>
                <a:cubicBezTo>
                  <a:pt x="547246" y="236431"/>
                  <a:pt x="543283" y="239146"/>
                  <a:pt x="539208" y="238467"/>
                </a:cubicBezTo>
                <a:cubicBezTo>
                  <a:pt x="532982" y="237336"/>
                  <a:pt x="527208" y="234621"/>
                  <a:pt x="522454" y="230549"/>
                </a:cubicBezTo>
                <a:cubicBezTo>
                  <a:pt x="516001" y="235979"/>
                  <a:pt x="507850" y="238920"/>
                  <a:pt x="499360" y="238920"/>
                </a:cubicBezTo>
                <a:cubicBezTo>
                  <a:pt x="479549" y="238920"/>
                  <a:pt x="463474" y="222857"/>
                  <a:pt x="463474" y="203176"/>
                </a:cubicBezTo>
                <a:cubicBezTo>
                  <a:pt x="463474" y="199330"/>
                  <a:pt x="464153" y="195597"/>
                  <a:pt x="465286" y="191977"/>
                </a:cubicBezTo>
                <a:cubicBezTo>
                  <a:pt x="466531" y="188018"/>
                  <a:pt x="470833" y="185869"/>
                  <a:pt x="474795" y="187226"/>
                </a:cubicBezTo>
                <a:close/>
                <a:moveTo>
                  <a:pt x="499359" y="167381"/>
                </a:moveTo>
                <a:cubicBezTo>
                  <a:pt x="507849" y="167381"/>
                  <a:pt x="516000" y="170433"/>
                  <a:pt x="522452" y="175745"/>
                </a:cubicBezTo>
                <a:cubicBezTo>
                  <a:pt x="528792" y="170433"/>
                  <a:pt x="536942" y="167381"/>
                  <a:pt x="545433" y="167381"/>
                </a:cubicBezTo>
                <a:cubicBezTo>
                  <a:pt x="565243" y="167381"/>
                  <a:pt x="581318" y="183431"/>
                  <a:pt x="581318" y="203212"/>
                </a:cubicBezTo>
                <a:cubicBezTo>
                  <a:pt x="581318" y="212706"/>
                  <a:pt x="577583" y="221749"/>
                  <a:pt x="570790" y="228530"/>
                </a:cubicBezTo>
                <a:cubicBezTo>
                  <a:pt x="569319" y="230000"/>
                  <a:pt x="567394" y="230678"/>
                  <a:pt x="565470" y="230678"/>
                </a:cubicBezTo>
                <a:cubicBezTo>
                  <a:pt x="563545" y="230678"/>
                  <a:pt x="561621" y="230000"/>
                  <a:pt x="560149" y="228530"/>
                </a:cubicBezTo>
                <a:cubicBezTo>
                  <a:pt x="557206" y="225592"/>
                  <a:pt x="557206" y="220731"/>
                  <a:pt x="560149" y="217793"/>
                </a:cubicBezTo>
                <a:cubicBezTo>
                  <a:pt x="564111" y="213950"/>
                  <a:pt x="566262" y="208750"/>
                  <a:pt x="566262" y="203212"/>
                </a:cubicBezTo>
                <a:cubicBezTo>
                  <a:pt x="566262" y="191683"/>
                  <a:pt x="556866" y="182414"/>
                  <a:pt x="545433" y="182414"/>
                </a:cubicBezTo>
                <a:cubicBezTo>
                  <a:pt x="538754" y="182414"/>
                  <a:pt x="532414" y="185692"/>
                  <a:pt x="528565" y="191117"/>
                </a:cubicBezTo>
                <a:cubicBezTo>
                  <a:pt x="527094" y="193152"/>
                  <a:pt x="524829" y="194282"/>
                  <a:pt x="522452" y="194282"/>
                </a:cubicBezTo>
                <a:cubicBezTo>
                  <a:pt x="519962" y="194282"/>
                  <a:pt x="517698" y="193152"/>
                  <a:pt x="516226" y="191117"/>
                </a:cubicBezTo>
                <a:cubicBezTo>
                  <a:pt x="512377" y="185692"/>
                  <a:pt x="506038" y="182414"/>
                  <a:pt x="499359" y="182414"/>
                </a:cubicBezTo>
                <a:cubicBezTo>
                  <a:pt x="496528" y="182414"/>
                  <a:pt x="493812" y="182979"/>
                  <a:pt x="491321" y="184109"/>
                </a:cubicBezTo>
                <a:cubicBezTo>
                  <a:pt x="487472" y="185692"/>
                  <a:pt x="483057" y="183883"/>
                  <a:pt x="481359" y="180040"/>
                </a:cubicBezTo>
                <a:cubicBezTo>
                  <a:pt x="479774" y="176197"/>
                  <a:pt x="481586" y="171789"/>
                  <a:pt x="485434" y="170207"/>
                </a:cubicBezTo>
                <a:cubicBezTo>
                  <a:pt x="489849" y="168285"/>
                  <a:pt x="494491" y="167381"/>
                  <a:pt x="499359" y="167381"/>
                </a:cubicBezTo>
                <a:close/>
                <a:moveTo>
                  <a:pt x="511733" y="136191"/>
                </a:moveTo>
                <a:lnTo>
                  <a:pt x="568794" y="136191"/>
                </a:lnTo>
                <a:cubicBezTo>
                  <a:pt x="572983" y="136191"/>
                  <a:pt x="576379" y="139581"/>
                  <a:pt x="576379" y="143763"/>
                </a:cubicBezTo>
                <a:cubicBezTo>
                  <a:pt x="576379" y="147831"/>
                  <a:pt x="572983" y="151221"/>
                  <a:pt x="568794" y="151221"/>
                </a:cubicBezTo>
                <a:lnTo>
                  <a:pt x="511733" y="151221"/>
                </a:lnTo>
                <a:cubicBezTo>
                  <a:pt x="507544" y="151221"/>
                  <a:pt x="504261" y="147831"/>
                  <a:pt x="504261" y="143763"/>
                </a:cubicBezTo>
                <a:cubicBezTo>
                  <a:pt x="504261" y="139581"/>
                  <a:pt x="507544" y="136191"/>
                  <a:pt x="511733" y="136191"/>
                </a:cubicBezTo>
                <a:close/>
                <a:moveTo>
                  <a:pt x="423287" y="136191"/>
                </a:moveTo>
                <a:lnTo>
                  <a:pt x="480347" y="136191"/>
                </a:lnTo>
                <a:cubicBezTo>
                  <a:pt x="484536" y="136191"/>
                  <a:pt x="487819" y="139581"/>
                  <a:pt x="487819" y="143763"/>
                </a:cubicBezTo>
                <a:cubicBezTo>
                  <a:pt x="487819" y="147831"/>
                  <a:pt x="484536" y="151221"/>
                  <a:pt x="480347" y="151221"/>
                </a:cubicBezTo>
                <a:lnTo>
                  <a:pt x="423287" y="151221"/>
                </a:lnTo>
                <a:cubicBezTo>
                  <a:pt x="419098" y="151221"/>
                  <a:pt x="415701" y="147831"/>
                  <a:pt x="415701" y="143763"/>
                </a:cubicBezTo>
                <a:cubicBezTo>
                  <a:pt x="415701" y="139581"/>
                  <a:pt x="419098" y="136191"/>
                  <a:pt x="423287" y="136191"/>
                </a:cubicBezTo>
                <a:close/>
                <a:moveTo>
                  <a:pt x="334869" y="136191"/>
                </a:moveTo>
                <a:lnTo>
                  <a:pt x="391929" y="136191"/>
                </a:lnTo>
                <a:cubicBezTo>
                  <a:pt x="396005" y="136191"/>
                  <a:pt x="399401" y="139581"/>
                  <a:pt x="399401" y="143763"/>
                </a:cubicBezTo>
                <a:cubicBezTo>
                  <a:pt x="399401" y="147831"/>
                  <a:pt x="396005" y="151221"/>
                  <a:pt x="391929" y="151221"/>
                </a:cubicBezTo>
                <a:lnTo>
                  <a:pt x="334869" y="151221"/>
                </a:lnTo>
                <a:cubicBezTo>
                  <a:pt x="330680" y="151221"/>
                  <a:pt x="327283" y="147831"/>
                  <a:pt x="327283" y="143763"/>
                </a:cubicBezTo>
                <a:cubicBezTo>
                  <a:pt x="327283" y="139581"/>
                  <a:pt x="330680" y="136191"/>
                  <a:pt x="334869" y="136191"/>
                </a:cubicBezTo>
                <a:close/>
                <a:moveTo>
                  <a:pt x="246450" y="136191"/>
                </a:moveTo>
                <a:lnTo>
                  <a:pt x="303397" y="136191"/>
                </a:lnTo>
                <a:cubicBezTo>
                  <a:pt x="307586" y="136191"/>
                  <a:pt x="310982" y="139581"/>
                  <a:pt x="310982" y="143763"/>
                </a:cubicBezTo>
                <a:cubicBezTo>
                  <a:pt x="310982" y="147831"/>
                  <a:pt x="307586" y="151221"/>
                  <a:pt x="303397" y="151221"/>
                </a:cubicBezTo>
                <a:lnTo>
                  <a:pt x="246450" y="151221"/>
                </a:lnTo>
                <a:cubicBezTo>
                  <a:pt x="242260" y="151221"/>
                  <a:pt x="238864" y="147831"/>
                  <a:pt x="238864" y="143763"/>
                </a:cubicBezTo>
                <a:cubicBezTo>
                  <a:pt x="238864" y="139581"/>
                  <a:pt x="242260" y="136191"/>
                  <a:pt x="246450" y="136191"/>
                </a:cubicBezTo>
                <a:close/>
                <a:moveTo>
                  <a:pt x="314606" y="80882"/>
                </a:moveTo>
                <a:lnTo>
                  <a:pt x="314606" y="97268"/>
                </a:lnTo>
                <a:lnTo>
                  <a:pt x="320382" y="97268"/>
                </a:lnTo>
                <a:cubicBezTo>
                  <a:pt x="324120" y="97268"/>
                  <a:pt x="327178" y="94217"/>
                  <a:pt x="327178" y="90487"/>
                </a:cubicBezTo>
                <a:lnTo>
                  <a:pt x="327178" y="80882"/>
                </a:lnTo>
                <a:close/>
                <a:moveTo>
                  <a:pt x="259334" y="80882"/>
                </a:moveTo>
                <a:lnTo>
                  <a:pt x="259334" y="90487"/>
                </a:lnTo>
                <a:cubicBezTo>
                  <a:pt x="259334" y="94217"/>
                  <a:pt x="262278" y="97268"/>
                  <a:pt x="266016" y="97268"/>
                </a:cubicBezTo>
                <a:lnTo>
                  <a:pt x="271792" y="97268"/>
                </a:lnTo>
                <a:lnTo>
                  <a:pt x="271792" y="80882"/>
                </a:lnTo>
                <a:close/>
                <a:moveTo>
                  <a:pt x="314606" y="50595"/>
                </a:moveTo>
                <a:lnTo>
                  <a:pt x="314606" y="65738"/>
                </a:lnTo>
                <a:lnTo>
                  <a:pt x="327178" y="65738"/>
                </a:lnTo>
                <a:lnTo>
                  <a:pt x="327178" y="57376"/>
                </a:lnTo>
                <a:cubicBezTo>
                  <a:pt x="327178" y="53646"/>
                  <a:pt x="324120" y="50595"/>
                  <a:pt x="320382" y="50595"/>
                </a:cubicBezTo>
                <a:close/>
                <a:moveTo>
                  <a:pt x="286970" y="50595"/>
                </a:moveTo>
                <a:lnTo>
                  <a:pt x="286970" y="97268"/>
                </a:lnTo>
                <a:lnTo>
                  <a:pt x="299542" y="97268"/>
                </a:lnTo>
                <a:lnTo>
                  <a:pt x="299542" y="50595"/>
                </a:lnTo>
                <a:close/>
                <a:moveTo>
                  <a:pt x="266016" y="50595"/>
                </a:moveTo>
                <a:cubicBezTo>
                  <a:pt x="262278" y="50595"/>
                  <a:pt x="259334" y="53646"/>
                  <a:pt x="259334" y="57376"/>
                </a:cubicBezTo>
                <a:lnTo>
                  <a:pt x="259334" y="65738"/>
                </a:lnTo>
                <a:lnTo>
                  <a:pt x="271792" y="65738"/>
                </a:lnTo>
                <a:lnTo>
                  <a:pt x="271792" y="50595"/>
                </a:lnTo>
                <a:close/>
                <a:moveTo>
                  <a:pt x="266016" y="35565"/>
                </a:moveTo>
                <a:lnTo>
                  <a:pt x="320382" y="35565"/>
                </a:lnTo>
                <a:cubicBezTo>
                  <a:pt x="332502" y="35565"/>
                  <a:pt x="342242" y="45284"/>
                  <a:pt x="342242" y="57376"/>
                </a:cubicBezTo>
                <a:lnTo>
                  <a:pt x="342242" y="90487"/>
                </a:lnTo>
                <a:cubicBezTo>
                  <a:pt x="342242" y="102579"/>
                  <a:pt x="332502" y="112411"/>
                  <a:pt x="320382" y="112411"/>
                </a:cubicBezTo>
                <a:lnTo>
                  <a:pt x="266016" y="112411"/>
                </a:lnTo>
                <a:cubicBezTo>
                  <a:pt x="254010" y="112411"/>
                  <a:pt x="244156" y="102579"/>
                  <a:pt x="244156" y="90487"/>
                </a:cubicBezTo>
                <a:lnTo>
                  <a:pt x="244156" y="57376"/>
                </a:lnTo>
                <a:cubicBezTo>
                  <a:pt x="244156" y="45284"/>
                  <a:pt x="254010" y="35565"/>
                  <a:pt x="266016" y="35565"/>
                </a:cubicBezTo>
                <a:close/>
                <a:moveTo>
                  <a:pt x="286638" y="0"/>
                </a:moveTo>
                <a:lnTo>
                  <a:pt x="586543" y="0"/>
                </a:lnTo>
                <a:cubicBezTo>
                  <a:pt x="597299" y="0"/>
                  <a:pt x="606016" y="8703"/>
                  <a:pt x="606016" y="19440"/>
                </a:cubicBezTo>
                <a:lnTo>
                  <a:pt x="606016" y="244136"/>
                </a:lnTo>
                <a:cubicBezTo>
                  <a:pt x="606016" y="254874"/>
                  <a:pt x="597299" y="263577"/>
                  <a:pt x="586543" y="263577"/>
                </a:cubicBezTo>
                <a:lnTo>
                  <a:pt x="401211" y="263577"/>
                </a:lnTo>
                <a:lnTo>
                  <a:pt x="401211" y="413337"/>
                </a:lnTo>
                <a:cubicBezTo>
                  <a:pt x="401211" y="424074"/>
                  <a:pt x="392493" y="432777"/>
                  <a:pt x="381738" y="432777"/>
                </a:cubicBezTo>
                <a:lnTo>
                  <a:pt x="113645" y="432777"/>
                </a:lnTo>
                <a:cubicBezTo>
                  <a:pt x="109456" y="432777"/>
                  <a:pt x="106060" y="429386"/>
                  <a:pt x="106060" y="425317"/>
                </a:cubicBezTo>
                <a:cubicBezTo>
                  <a:pt x="106060" y="421135"/>
                  <a:pt x="109456" y="417745"/>
                  <a:pt x="113645" y="417745"/>
                </a:cubicBezTo>
                <a:lnTo>
                  <a:pt x="381738" y="417745"/>
                </a:lnTo>
                <a:cubicBezTo>
                  <a:pt x="384115" y="417745"/>
                  <a:pt x="386153" y="415710"/>
                  <a:pt x="386153" y="413337"/>
                </a:cubicBezTo>
                <a:lnTo>
                  <a:pt x="386153" y="256117"/>
                </a:lnTo>
                <a:cubicBezTo>
                  <a:pt x="386153" y="256117"/>
                  <a:pt x="386153" y="256117"/>
                  <a:pt x="386153" y="256004"/>
                </a:cubicBezTo>
                <a:lnTo>
                  <a:pt x="386153" y="188641"/>
                </a:lnTo>
                <a:cubicBezTo>
                  <a:pt x="386153" y="186267"/>
                  <a:pt x="384115" y="184233"/>
                  <a:pt x="381738" y="184233"/>
                </a:cubicBezTo>
                <a:lnTo>
                  <a:pt x="295129" y="184233"/>
                </a:lnTo>
                <a:cubicBezTo>
                  <a:pt x="290940" y="184233"/>
                  <a:pt x="287543" y="180955"/>
                  <a:pt x="287543" y="176773"/>
                </a:cubicBezTo>
                <a:cubicBezTo>
                  <a:pt x="287543" y="172591"/>
                  <a:pt x="290940" y="169200"/>
                  <a:pt x="295129" y="169200"/>
                </a:cubicBezTo>
                <a:lnTo>
                  <a:pt x="381738" y="169200"/>
                </a:lnTo>
                <a:cubicBezTo>
                  <a:pt x="392493" y="169200"/>
                  <a:pt x="401211" y="177903"/>
                  <a:pt x="401211" y="188641"/>
                </a:cubicBezTo>
                <a:lnTo>
                  <a:pt x="401211" y="248544"/>
                </a:lnTo>
                <a:lnTo>
                  <a:pt x="586543" y="248544"/>
                </a:lnTo>
                <a:cubicBezTo>
                  <a:pt x="588921" y="248544"/>
                  <a:pt x="590959" y="246510"/>
                  <a:pt x="590959" y="244136"/>
                </a:cubicBezTo>
                <a:lnTo>
                  <a:pt x="590959" y="19440"/>
                </a:lnTo>
                <a:cubicBezTo>
                  <a:pt x="590959" y="17067"/>
                  <a:pt x="588921" y="15032"/>
                  <a:pt x="586543" y="15032"/>
                </a:cubicBezTo>
                <a:lnTo>
                  <a:pt x="286638" y="15032"/>
                </a:lnTo>
                <a:cubicBezTo>
                  <a:pt x="282449" y="15032"/>
                  <a:pt x="279052" y="11642"/>
                  <a:pt x="279052" y="7573"/>
                </a:cubicBezTo>
                <a:cubicBezTo>
                  <a:pt x="279052" y="3391"/>
                  <a:pt x="282449" y="0"/>
                  <a:pt x="286638" y="0"/>
                </a:cubicBezTo>
                <a:close/>
                <a:moveTo>
                  <a:pt x="224353" y="0"/>
                </a:moveTo>
                <a:lnTo>
                  <a:pt x="259330" y="0"/>
                </a:lnTo>
                <a:cubicBezTo>
                  <a:pt x="263519" y="0"/>
                  <a:pt x="266915" y="3391"/>
                  <a:pt x="266915" y="7573"/>
                </a:cubicBezTo>
                <a:cubicBezTo>
                  <a:pt x="266915" y="11642"/>
                  <a:pt x="263519" y="15032"/>
                  <a:pt x="259330" y="15032"/>
                </a:cubicBezTo>
                <a:lnTo>
                  <a:pt x="224353" y="15032"/>
                </a:lnTo>
                <a:cubicBezTo>
                  <a:pt x="221862" y="15032"/>
                  <a:pt x="219938" y="17067"/>
                  <a:pt x="219938" y="19440"/>
                </a:cubicBezTo>
                <a:lnTo>
                  <a:pt x="219938" y="169200"/>
                </a:lnTo>
                <a:lnTo>
                  <a:pt x="262160" y="169200"/>
                </a:lnTo>
                <a:cubicBezTo>
                  <a:pt x="266349" y="169200"/>
                  <a:pt x="269631" y="172591"/>
                  <a:pt x="269631" y="176773"/>
                </a:cubicBezTo>
                <a:cubicBezTo>
                  <a:pt x="269631" y="180955"/>
                  <a:pt x="266349" y="184233"/>
                  <a:pt x="262160" y="184233"/>
                </a:cubicBezTo>
                <a:lnTo>
                  <a:pt x="19469" y="184233"/>
                </a:lnTo>
                <a:cubicBezTo>
                  <a:pt x="17092" y="184233"/>
                  <a:pt x="15055" y="186267"/>
                  <a:pt x="15055" y="188641"/>
                </a:cubicBezTo>
                <a:lnTo>
                  <a:pt x="15055" y="413337"/>
                </a:lnTo>
                <a:cubicBezTo>
                  <a:pt x="15055" y="415710"/>
                  <a:pt x="17092" y="417745"/>
                  <a:pt x="19469" y="417745"/>
                </a:cubicBezTo>
                <a:lnTo>
                  <a:pt x="83538" y="417745"/>
                </a:lnTo>
                <a:cubicBezTo>
                  <a:pt x="87726" y="417745"/>
                  <a:pt x="91009" y="421135"/>
                  <a:pt x="91009" y="425317"/>
                </a:cubicBezTo>
                <a:cubicBezTo>
                  <a:pt x="91009" y="429386"/>
                  <a:pt x="87726" y="432777"/>
                  <a:pt x="83538" y="432777"/>
                </a:cubicBezTo>
                <a:lnTo>
                  <a:pt x="19469" y="432777"/>
                </a:lnTo>
                <a:cubicBezTo>
                  <a:pt x="8716" y="432777"/>
                  <a:pt x="0" y="424074"/>
                  <a:pt x="0" y="413337"/>
                </a:cubicBezTo>
                <a:lnTo>
                  <a:pt x="0" y="188641"/>
                </a:lnTo>
                <a:cubicBezTo>
                  <a:pt x="0" y="177903"/>
                  <a:pt x="8716" y="169200"/>
                  <a:pt x="19469" y="169200"/>
                </a:cubicBezTo>
                <a:lnTo>
                  <a:pt x="204770" y="169200"/>
                </a:lnTo>
                <a:lnTo>
                  <a:pt x="204770" y="19440"/>
                </a:lnTo>
                <a:cubicBezTo>
                  <a:pt x="204770" y="8703"/>
                  <a:pt x="213599" y="0"/>
                  <a:pt x="224353"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ollar-sign_16302">
            <a:extLst>
              <a:ext uri="{FF2B5EF4-FFF2-40B4-BE49-F238E27FC236}">
                <a16:creationId xmlns:a16="http://schemas.microsoft.com/office/drawing/2014/main" id="{F4928053-9C19-4EC9-8AE2-7C6D2F160C64}"/>
              </a:ext>
            </a:extLst>
          </p:cNvPr>
          <p:cNvSpPr/>
          <p:nvPr/>
        </p:nvSpPr>
        <p:spPr>
          <a:xfrm>
            <a:off x="6472686" y="3900462"/>
            <a:ext cx="609685" cy="608836"/>
          </a:xfrm>
          <a:custGeom>
            <a:avLst/>
            <a:gdLst>
              <a:gd name="connsiteX0" fmla="*/ 157682 w 608203"/>
              <a:gd name="connsiteY0" fmla="*/ 42833 h 607357"/>
              <a:gd name="connsiteX1" fmla="*/ 254833 w 608203"/>
              <a:gd name="connsiteY1" fmla="*/ 42833 h 607357"/>
              <a:gd name="connsiteX2" fmla="*/ 277252 w 608203"/>
              <a:gd name="connsiteY2" fmla="*/ 65216 h 607357"/>
              <a:gd name="connsiteX3" fmla="*/ 277252 w 608203"/>
              <a:gd name="connsiteY3" fmla="*/ 162211 h 607357"/>
              <a:gd name="connsiteX4" fmla="*/ 261432 w 608203"/>
              <a:gd name="connsiteY4" fmla="*/ 168800 h 607357"/>
              <a:gd name="connsiteX5" fmla="*/ 237945 w 608203"/>
              <a:gd name="connsiteY5" fmla="*/ 145351 h 607357"/>
              <a:gd name="connsiteX6" fmla="*/ 86251 w 608203"/>
              <a:gd name="connsiteY6" fmla="*/ 296898 h 607357"/>
              <a:gd name="connsiteX7" fmla="*/ 54514 w 608203"/>
              <a:gd name="connsiteY7" fmla="*/ 296898 h 607357"/>
              <a:gd name="connsiteX8" fmla="*/ 22778 w 608203"/>
              <a:gd name="connsiteY8" fmla="*/ 265213 h 607357"/>
              <a:gd name="connsiteX9" fmla="*/ 22778 w 608203"/>
              <a:gd name="connsiteY9" fmla="*/ 233527 h 607357"/>
              <a:gd name="connsiteX10" fmla="*/ 174569 w 608203"/>
              <a:gd name="connsiteY10" fmla="*/ 82076 h 607357"/>
              <a:gd name="connsiteX11" fmla="*/ 151083 w 608203"/>
              <a:gd name="connsiteY11" fmla="*/ 58627 h 607357"/>
              <a:gd name="connsiteX12" fmla="*/ 157682 w 608203"/>
              <a:gd name="connsiteY12" fmla="*/ 42833 h 607357"/>
              <a:gd name="connsiteX13" fmla="*/ 487603 w 608203"/>
              <a:gd name="connsiteY13" fmla="*/ 11161 h 607357"/>
              <a:gd name="connsiteX14" fmla="*/ 488877 w 608203"/>
              <a:gd name="connsiteY14" fmla="*/ 15823 h 607357"/>
              <a:gd name="connsiteX15" fmla="*/ 488877 w 608203"/>
              <a:gd name="connsiteY15" fmla="*/ 477753 h 607357"/>
              <a:gd name="connsiteX16" fmla="*/ 478300 w 608203"/>
              <a:gd name="connsiteY16" fmla="*/ 488313 h 607357"/>
              <a:gd name="connsiteX17" fmla="*/ 19327 w 608203"/>
              <a:gd name="connsiteY17" fmla="*/ 488313 h 607357"/>
              <a:gd name="connsiteX18" fmla="*/ 8750 w 608203"/>
              <a:gd name="connsiteY18" fmla="*/ 477753 h 607357"/>
              <a:gd name="connsiteX19" fmla="*/ 8750 w 608203"/>
              <a:gd name="connsiteY19" fmla="*/ 448979 h 607357"/>
              <a:gd name="connsiteX20" fmla="*/ 16901 w 608203"/>
              <a:gd name="connsiteY20" fmla="*/ 431831 h 607357"/>
              <a:gd name="connsiteX21" fmla="*/ 115100 w 608203"/>
              <a:gd name="connsiteY21" fmla="*/ 351129 h 607357"/>
              <a:gd name="connsiteX22" fmla="*/ 133634 w 608203"/>
              <a:gd name="connsiteY22" fmla="*/ 346091 h 607357"/>
              <a:gd name="connsiteX23" fmla="*/ 200199 w 608203"/>
              <a:gd name="connsiteY23" fmla="*/ 356167 h 607357"/>
              <a:gd name="connsiteX24" fmla="*/ 215919 w 608203"/>
              <a:gd name="connsiteY24" fmla="*/ 348707 h 607357"/>
              <a:gd name="connsiteX25" fmla="*/ 328479 w 608203"/>
              <a:gd name="connsiteY25" fmla="*/ 154460 h 607357"/>
              <a:gd name="connsiteX26" fmla="*/ 344101 w 608203"/>
              <a:gd name="connsiteY26" fmla="*/ 147097 h 607357"/>
              <a:gd name="connsiteX27" fmla="*/ 408338 w 608203"/>
              <a:gd name="connsiteY27" fmla="*/ 157561 h 607357"/>
              <a:gd name="connsiteX28" fmla="*/ 423088 w 608203"/>
              <a:gd name="connsiteY28" fmla="*/ 149713 h 607357"/>
              <a:gd name="connsiteX29" fmla="*/ 484510 w 608203"/>
              <a:gd name="connsiteY29" fmla="*/ 14854 h 607357"/>
              <a:gd name="connsiteX30" fmla="*/ 487603 w 608203"/>
              <a:gd name="connsiteY30" fmla="*/ 11161 h 607357"/>
              <a:gd name="connsiteX31" fmla="*/ 555611 w 608203"/>
              <a:gd name="connsiteY31" fmla="*/ 0 h 607357"/>
              <a:gd name="connsiteX32" fmla="*/ 608203 w 608203"/>
              <a:gd name="connsiteY32" fmla="*/ 0 h 607357"/>
              <a:gd name="connsiteX33" fmla="*/ 608203 w 608203"/>
              <a:gd name="connsiteY33" fmla="*/ 607357 h 607357"/>
              <a:gd name="connsiteX34" fmla="*/ 0 w 608203"/>
              <a:gd name="connsiteY34" fmla="*/ 607357 h 607357"/>
              <a:gd name="connsiteX35" fmla="*/ 0 w 608203"/>
              <a:gd name="connsiteY35" fmla="*/ 554838 h 607357"/>
              <a:gd name="connsiteX36" fmla="*/ 29789 w 608203"/>
              <a:gd name="connsiteY36" fmla="*/ 554838 h 607357"/>
              <a:gd name="connsiteX37" fmla="*/ 29789 w 608203"/>
              <a:gd name="connsiteY37" fmla="*/ 539722 h 607357"/>
              <a:gd name="connsiteX38" fmla="*/ 40269 w 608203"/>
              <a:gd name="connsiteY38" fmla="*/ 529160 h 607357"/>
              <a:gd name="connsiteX39" fmla="*/ 50845 w 608203"/>
              <a:gd name="connsiteY39" fmla="*/ 539722 h 607357"/>
              <a:gd name="connsiteX40" fmla="*/ 50845 w 608203"/>
              <a:gd name="connsiteY40" fmla="*/ 554838 h 607357"/>
              <a:gd name="connsiteX41" fmla="*/ 125658 w 608203"/>
              <a:gd name="connsiteY41" fmla="*/ 554838 h 607357"/>
              <a:gd name="connsiteX42" fmla="*/ 125658 w 608203"/>
              <a:gd name="connsiteY42" fmla="*/ 539722 h 607357"/>
              <a:gd name="connsiteX43" fmla="*/ 136137 w 608203"/>
              <a:gd name="connsiteY43" fmla="*/ 529160 h 607357"/>
              <a:gd name="connsiteX44" fmla="*/ 146617 w 608203"/>
              <a:gd name="connsiteY44" fmla="*/ 539722 h 607357"/>
              <a:gd name="connsiteX45" fmla="*/ 146617 w 608203"/>
              <a:gd name="connsiteY45" fmla="*/ 554838 h 607357"/>
              <a:gd name="connsiteX46" fmla="*/ 221429 w 608203"/>
              <a:gd name="connsiteY46" fmla="*/ 554838 h 607357"/>
              <a:gd name="connsiteX47" fmla="*/ 221429 w 608203"/>
              <a:gd name="connsiteY47" fmla="*/ 539722 h 607357"/>
              <a:gd name="connsiteX48" fmla="*/ 232006 w 608203"/>
              <a:gd name="connsiteY48" fmla="*/ 529160 h 607357"/>
              <a:gd name="connsiteX49" fmla="*/ 242486 w 608203"/>
              <a:gd name="connsiteY49" fmla="*/ 539722 h 607357"/>
              <a:gd name="connsiteX50" fmla="*/ 242486 w 608203"/>
              <a:gd name="connsiteY50" fmla="*/ 554838 h 607357"/>
              <a:gd name="connsiteX51" fmla="*/ 317298 w 608203"/>
              <a:gd name="connsiteY51" fmla="*/ 554838 h 607357"/>
              <a:gd name="connsiteX52" fmla="*/ 317298 w 608203"/>
              <a:gd name="connsiteY52" fmla="*/ 539722 h 607357"/>
              <a:gd name="connsiteX53" fmla="*/ 327778 w 608203"/>
              <a:gd name="connsiteY53" fmla="*/ 529160 h 607357"/>
              <a:gd name="connsiteX54" fmla="*/ 338354 w 608203"/>
              <a:gd name="connsiteY54" fmla="*/ 539722 h 607357"/>
              <a:gd name="connsiteX55" fmla="*/ 338354 w 608203"/>
              <a:gd name="connsiteY55" fmla="*/ 554838 h 607357"/>
              <a:gd name="connsiteX56" fmla="*/ 413070 w 608203"/>
              <a:gd name="connsiteY56" fmla="*/ 554838 h 607357"/>
              <a:gd name="connsiteX57" fmla="*/ 413070 w 608203"/>
              <a:gd name="connsiteY57" fmla="*/ 539722 h 607357"/>
              <a:gd name="connsiteX58" fmla="*/ 423646 w 608203"/>
              <a:gd name="connsiteY58" fmla="*/ 529160 h 607357"/>
              <a:gd name="connsiteX59" fmla="*/ 434126 w 608203"/>
              <a:gd name="connsiteY59" fmla="*/ 539722 h 607357"/>
              <a:gd name="connsiteX60" fmla="*/ 434126 w 608203"/>
              <a:gd name="connsiteY60" fmla="*/ 554838 h 607357"/>
              <a:gd name="connsiteX61" fmla="*/ 555611 w 608203"/>
              <a:gd name="connsiteY61" fmla="*/ 554838 h 607357"/>
              <a:gd name="connsiteX62" fmla="*/ 555611 w 608203"/>
              <a:gd name="connsiteY62" fmla="*/ 433716 h 607357"/>
              <a:gd name="connsiteX63" fmla="*/ 539504 w 608203"/>
              <a:gd name="connsiteY63" fmla="*/ 433716 h 607357"/>
              <a:gd name="connsiteX64" fmla="*/ 529024 w 608203"/>
              <a:gd name="connsiteY64" fmla="*/ 423251 h 607357"/>
              <a:gd name="connsiteX65" fmla="*/ 539504 w 608203"/>
              <a:gd name="connsiteY65" fmla="*/ 412689 h 607357"/>
              <a:gd name="connsiteX66" fmla="*/ 555611 w 608203"/>
              <a:gd name="connsiteY66" fmla="*/ 412689 h 607357"/>
              <a:gd name="connsiteX67" fmla="*/ 555611 w 608203"/>
              <a:gd name="connsiteY67" fmla="*/ 337108 h 607357"/>
              <a:gd name="connsiteX68" fmla="*/ 539504 w 608203"/>
              <a:gd name="connsiteY68" fmla="*/ 337108 h 607357"/>
              <a:gd name="connsiteX69" fmla="*/ 529024 w 608203"/>
              <a:gd name="connsiteY69" fmla="*/ 326643 h 607357"/>
              <a:gd name="connsiteX70" fmla="*/ 539504 w 608203"/>
              <a:gd name="connsiteY70" fmla="*/ 316081 h 607357"/>
              <a:gd name="connsiteX71" fmla="*/ 555611 w 608203"/>
              <a:gd name="connsiteY71" fmla="*/ 316081 h 607357"/>
              <a:gd name="connsiteX72" fmla="*/ 555611 w 608203"/>
              <a:gd name="connsiteY72" fmla="*/ 240501 h 607357"/>
              <a:gd name="connsiteX73" fmla="*/ 539504 w 608203"/>
              <a:gd name="connsiteY73" fmla="*/ 240501 h 607357"/>
              <a:gd name="connsiteX74" fmla="*/ 529024 w 608203"/>
              <a:gd name="connsiteY74" fmla="*/ 229939 h 607357"/>
              <a:gd name="connsiteX75" fmla="*/ 539504 w 608203"/>
              <a:gd name="connsiteY75" fmla="*/ 219474 h 607357"/>
              <a:gd name="connsiteX76" fmla="*/ 555611 w 608203"/>
              <a:gd name="connsiteY76" fmla="*/ 219474 h 607357"/>
              <a:gd name="connsiteX77" fmla="*/ 555611 w 608203"/>
              <a:gd name="connsiteY77" fmla="*/ 143894 h 607357"/>
              <a:gd name="connsiteX78" fmla="*/ 539504 w 608203"/>
              <a:gd name="connsiteY78" fmla="*/ 143894 h 607357"/>
              <a:gd name="connsiteX79" fmla="*/ 529024 w 608203"/>
              <a:gd name="connsiteY79" fmla="*/ 133332 h 607357"/>
              <a:gd name="connsiteX80" fmla="*/ 539504 w 608203"/>
              <a:gd name="connsiteY80" fmla="*/ 122867 h 607357"/>
              <a:gd name="connsiteX81" fmla="*/ 555611 w 608203"/>
              <a:gd name="connsiteY81" fmla="*/ 122867 h 607357"/>
              <a:gd name="connsiteX82" fmla="*/ 555611 w 608203"/>
              <a:gd name="connsiteY82" fmla="*/ 47286 h 607357"/>
              <a:gd name="connsiteX83" fmla="*/ 539504 w 608203"/>
              <a:gd name="connsiteY83" fmla="*/ 47286 h 607357"/>
              <a:gd name="connsiteX84" fmla="*/ 529024 w 608203"/>
              <a:gd name="connsiteY84" fmla="*/ 36724 h 607357"/>
              <a:gd name="connsiteX85" fmla="*/ 539504 w 608203"/>
              <a:gd name="connsiteY85" fmla="*/ 26259 h 607357"/>
              <a:gd name="connsiteX86" fmla="*/ 555611 w 608203"/>
              <a:gd name="connsiteY86" fmla="*/ 26259 h 60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8203" h="607357">
                <a:moveTo>
                  <a:pt x="157682" y="42833"/>
                </a:moveTo>
                <a:lnTo>
                  <a:pt x="254833" y="42833"/>
                </a:lnTo>
                <a:cubicBezTo>
                  <a:pt x="267256" y="42833"/>
                  <a:pt x="277252" y="52813"/>
                  <a:pt x="277252" y="65216"/>
                </a:cubicBezTo>
                <a:lnTo>
                  <a:pt x="277252" y="162211"/>
                </a:lnTo>
                <a:cubicBezTo>
                  <a:pt x="277252" y="174614"/>
                  <a:pt x="270167" y="177521"/>
                  <a:pt x="261432" y="168800"/>
                </a:cubicBezTo>
                <a:lnTo>
                  <a:pt x="237945" y="145351"/>
                </a:lnTo>
                <a:lnTo>
                  <a:pt x="86251" y="296898"/>
                </a:lnTo>
                <a:cubicBezTo>
                  <a:pt x="77516" y="305619"/>
                  <a:pt x="63249" y="305619"/>
                  <a:pt x="54514" y="296898"/>
                </a:cubicBezTo>
                <a:lnTo>
                  <a:pt x="22778" y="265213"/>
                </a:lnTo>
                <a:cubicBezTo>
                  <a:pt x="14043" y="256395"/>
                  <a:pt x="14043" y="242248"/>
                  <a:pt x="22778" y="233527"/>
                </a:cubicBezTo>
                <a:lnTo>
                  <a:pt x="174569" y="82076"/>
                </a:lnTo>
                <a:lnTo>
                  <a:pt x="151083" y="58627"/>
                </a:lnTo>
                <a:cubicBezTo>
                  <a:pt x="142348" y="49907"/>
                  <a:pt x="145259" y="42833"/>
                  <a:pt x="157682" y="42833"/>
                </a:cubicBezTo>
                <a:close/>
                <a:moveTo>
                  <a:pt x="487603" y="11161"/>
                </a:moveTo>
                <a:cubicBezTo>
                  <a:pt x="488392" y="11342"/>
                  <a:pt x="488877" y="12917"/>
                  <a:pt x="488877" y="15823"/>
                </a:cubicBezTo>
                <a:lnTo>
                  <a:pt x="488877" y="477753"/>
                </a:lnTo>
                <a:cubicBezTo>
                  <a:pt x="488877" y="483566"/>
                  <a:pt x="484122" y="488313"/>
                  <a:pt x="478300" y="488313"/>
                </a:cubicBezTo>
                <a:lnTo>
                  <a:pt x="19327" y="488313"/>
                </a:lnTo>
                <a:cubicBezTo>
                  <a:pt x="13505" y="488313"/>
                  <a:pt x="8750" y="483566"/>
                  <a:pt x="8750" y="477753"/>
                </a:cubicBezTo>
                <a:lnTo>
                  <a:pt x="8750" y="448979"/>
                </a:lnTo>
                <a:cubicBezTo>
                  <a:pt x="8750" y="443166"/>
                  <a:pt x="12437" y="435513"/>
                  <a:pt x="16901" y="431831"/>
                </a:cubicBezTo>
                <a:lnTo>
                  <a:pt x="115100" y="351129"/>
                </a:lnTo>
                <a:cubicBezTo>
                  <a:pt x="119661" y="347448"/>
                  <a:pt x="127908" y="345219"/>
                  <a:pt x="133634" y="346091"/>
                </a:cubicBezTo>
                <a:lnTo>
                  <a:pt x="200199" y="356167"/>
                </a:lnTo>
                <a:cubicBezTo>
                  <a:pt x="205924" y="357039"/>
                  <a:pt x="213008" y="353745"/>
                  <a:pt x="215919" y="348707"/>
                </a:cubicBezTo>
                <a:lnTo>
                  <a:pt x="328479" y="154460"/>
                </a:lnTo>
                <a:cubicBezTo>
                  <a:pt x="331390" y="149422"/>
                  <a:pt x="338376" y="146129"/>
                  <a:pt x="344101" y="147097"/>
                </a:cubicBezTo>
                <a:lnTo>
                  <a:pt x="408338" y="157561"/>
                </a:lnTo>
                <a:cubicBezTo>
                  <a:pt x="414063" y="158529"/>
                  <a:pt x="420662" y="154945"/>
                  <a:pt x="423088" y="149713"/>
                </a:cubicBezTo>
                <a:lnTo>
                  <a:pt x="484510" y="14854"/>
                </a:lnTo>
                <a:cubicBezTo>
                  <a:pt x="485723" y="12190"/>
                  <a:pt x="486815" y="10979"/>
                  <a:pt x="487603" y="11161"/>
                </a:cubicBezTo>
                <a:close/>
                <a:moveTo>
                  <a:pt x="555611" y="0"/>
                </a:moveTo>
                <a:lnTo>
                  <a:pt x="608203" y="0"/>
                </a:lnTo>
                <a:lnTo>
                  <a:pt x="608203" y="607357"/>
                </a:lnTo>
                <a:lnTo>
                  <a:pt x="0" y="607357"/>
                </a:lnTo>
                <a:lnTo>
                  <a:pt x="0" y="554838"/>
                </a:lnTo>
                <a:lnTo>
                  <a:pt x="29789" y="554838"/>
                </a:lnTo>
                <a:lnTo>
                  <a:pt x="29789" y="539722"/>
                </a:lnTo>
                <a:cubicBezTo>
                  <a:pt x="29789" y="533908"/>
                  <a:pt x="34544" y="529160"/>
                  <a:pt x="40269" y="529160"/>
                </a:cubicBezTo>
                <a:cubicBezTo>
                  <a:pt x="46091" y="529160"/>
                  <a:pt x="50845" y="533908"/>
                  <a:pt x="50845" y="539722"/>
                </a:cubicBezTo>
                <a:lnTo>
                  <a:pt x="50845" y="554838"/>
                </a:lnTo>
                <a:lnTo>
                  <a:pt x="125658" y="554838"/>
                </a:lnTo>
                <a:lnTo>
                  <a:pt x="125658" y="539722"/>
                </a:lnTo>
                <a:cubicBezTo>
                  <a:pt x="125658" y="533908"/>
                  <a:pt x="130315" y="529160"/>
                  <a:pt x="136137" y="529160"/>
                </a:cubicBezTo>
                <a:cubicBezTo>
                  <a:pt x="141959" y="529160"/>
                  <a:pt x="146617" y="533908"/>
                  <a:pt x="146617" y="539722"/>
                </a:cubicBezTo>
                <a:lnTo>
                  <a:pt x="146617" y="554838"/>
                </a:lnTo>
                <a:lnTo>
                  <a:pt x="221429" y="554838"/>
                </a:lnTo>
                <a:lnTo>
                  <a:pt x="221429" y="539722"/>
                </a:lnTo>
                <a:cubicBezTo>
                  <a:pt x="221429" y="533908"/>
                  <a:pt x="226184" y="529160"/>
                  <a:pt x="232006" y="529160"/>
                </a:cubicBezTo>
                <a:cubicBezTo>
                  <a:pt x="237731" y="529160"/>
                  <a:pt x="242486" y="533908"/>
                  <a:pt x="242486" y="539722"/>
                </a:cubicBezTo>
                <a:lnTo>
                  <a:pt x="242486" y="554838"/>
                </a:lnTo>
                <a:lnTo>
                  <a:pt x="317298" y="554838"/>
                </a:lnTo>
                <a:lnTo>
                  <a:pt x="317298" y="539722"/>
                </a:lnTo>
                <a:cubicBezTo>
                  <a:pt x="317298" y="533908"/>
                  <a:pt x="321956" y="529160"/>
                  <a:pt x="327778" y="529160"/>
                </a:cubicBezTo>
                <a:cubicBezTo>
                  <a:pt x="333600" y="529160"/>
                  <a:pt x="338354" y="533908"/>
                  <a:pt x="338354" y="539722"/>
                </a:cubicBezTo>
                <a:lnTo>
                  <a:pt x="338354" y="554838"/>
                </a:lnTo>
                <a:lnTo>
                  <a:pt x="413070" y="554838"/>
                </a:lnTo>
                <a:lnTo>
                  <a:pt x="413070" y="539722"/>
                </a:lnTo>
                <a:cubicBezTo>
                  <a:pt x="413070" y="533908"/>
                  <a:pt x="417824" y="529160"/>
                  <a:pt x="423646" y="529160"/>
                </a:cubicBezTo>
                <a:cubicBezTo>
                  <a:pt x="429468" y="529160"/>
                  <a:pt x="434126" y="533908"/>
                  <a:pt x="434126" y="539722"/>
                </a:cubicBezTo>
                <a:lnTo>
                  <a:pt x="434126" y="554838"/>
                </a:lnTo>
                <a:lnTo>
                  <a:pt x="555611" y="554838"/>
                </a:lnTo>
                <a:lnTo>
                  <a:pt x="555611" y="433716"/>
                </a:lnTo>
                <a:lnTo>
                  <a:pt x="539504" y="433716"/>
                </a:lnTo>
                <a:cubicBezTo>
                  <a:pt x="533682" y="433716"/>
                  <a:pt x="529024" y="429065"/>
                  <a:pt x="529024" y="423251"/>
                </a:cubicBezTo>
                <a:cubicBezTo>
                  <a:pt x="529024" y="417437"/>
                  <a:pt x="533682" y="412689"/>
                  <a:pt x="539504" y="412689"/>
                </a:cubicBezTo>
                <a:lnTo>
                  <a:pt x="555611" y="412689"/>
                </a:lnTo>
                <a:lnTo>
                  <a:pt x="555611" y="337108"/>
                </a:lnTo>
                <a:lnTo>
                  <a:pt x="539504" y="337108"/>
                </a:lnTo>
                <a:cubicBezTo>
                  <a:pt x="533682" y="337108"/>
                  <a:pt x="529024" y="332457"/>
                  <a:pt x="529024" y="326643"/>
                </a:cubicBezTo>
                <a:cubicBezTo>
                  <a:pt x="529024" y="320829"/>
                  <a:pt x="533682" y="316081"/>
                  <a:pt x="539504" y="316081"/>
                </a:cubicBezTo>
                <a:lnTo>
                  <a:pt x="555611" y="316081"/>
                </a:lnTo>
                <a:lnTo>
                  <a:pt x="555611" y="240501"/>
                </a:lnTo>
                <a:lnTo>
                  <a:pt x="539504" y="240501"/>
                </a:lnTo>
                <a:cubicBezTo>
                  <a:pt x="533682" y="240501"/>
                  <a:pt x="529024" y="235753"/>
                  <a:pt x="529024" y="229939"/>
                </a:cubicBezTo>
                <a:cubicBezTo>
                  <a:pt x="529024" y="224222"/>
                  <a:pt x="533682" y="219474"/>
                  <a:pt x="539504" y="219474"/>
                </a:cubicBezTo>
                <a:lnTo>
                  <a:pt x="555611" y="219474"/>
                </a:lnTo>
                <a:lnTo>
                  <a:pt x="555611" y="143894"/>
                </a:lnTo>
                <a:lnTo>
                  <a:pt x="539504" y="143894"/>
                </a:lnTo>
                <a:cubicBezTo>
                  <a:pt x="533682" y="143894"/>
                  <a:pt x="529024" y="139146"/>
                  <a:pt x="529024" y="133332"/>
                </a:cubicBezTo>
                <a:cubicBezTo>
                  <a:pt x="529024" y="127518"/>
                  <a:pt x="533682" y="122867"/>
                  <a:pt x="539504" y="122867"/>
                </a:cubicBezTo>
                <a:lnTo>
                  <a:pt x="555611" y="122867"/>
                </a:lnTo>
                <a:lnTo>
                  <a:pt x="555611" y="47286"/>
                </a:lnTo>
                <a:lnTo>
                  <a:pt x="539504" y="47286"/>
                </a:lnTo>
                <a:cubicBezTo>
                  <a:pt x="533682" y="47286"/>
                  <a:pt x="529024" y="42538"/>
                  <a:pt x="529024" y="36724"/>
                </a:cubicBezTo>
                <a:cubicBezTo>
                  <a:pt x="529024" y="30910"/>
                  <a:pt x="533682" y="26259"/>
                  <a:pt x="539504" y="26259"/>
                </a:cubicBezTo>
                <a:lnTo>
                  <a:pt x="555611" y="26259"/>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3" name="graduate_57239">
            <a:extLst>
              <a:ext uri="{FF2B5EF4-FFF2-40B4-BE49-F238E27FC236}">
                <a16:creationId xmlns:a16="http://schemas.microsoft.com/office/drawing/2014/main" id="{3D60E4E3-E0BB-4152-81B1-EE2F9A0DDE19}"/>
              </a:ext>
            </a:extLst>
          </p:cNvPr>
          <p:cNvSpPr/>
          <p:nvPr/>
        </p:nvSpPr>
        <p:spPr>
          <a:xfrm>
            <a:off x="8946058" y="3895640"/>
            <a:ext cx="419024" cy="609684"/>
          </a:xfrm>
          <a:custGeom>
            <a:avLst/>
            <a:gdLst>
              <a:gd name="connsiteX0" fmla="*/ 142468 w 412043"/>
              <a:gd name="connsiteY0" fmla="*/ 396851 h 599527"/>
              <a:gd name="connsiteX1" fmla="*/ 153964 w 412043"/>
              <a:gd name="connsiteY1" fmla="*/ 405753 h 599527"/>
              <a:gd name="connsiteX2" fmla="*/ 144814 w 412043"/>
              <a:gd name="connsiteY2" fmla="*/ 585910 h 599527"/>
              <a:gd name="connsiteX3" fmla="*/ 135898 w 412043"/>
              <a:gd name="connsiteY3" fmla="*/ 595046 h 599527"/>
              <a:gd name="connsiteX4" fmla="*/ 15768 w 412043"/>
              <a:gd name="connsiteY4" fmla="*/ 599498 h 599527"/>
              <a:gd name="connsiteX5" fmla="*/ 6383 w 412043"/>
              <a:gd name="connsiteY5" fmla="*/ 590127 h 599527"/>
              <a:gd name="connsiteX6" fmla="*/ 142468 w 412043"/>
              <a:gd name="connsiteY6" fmla="*/ 396851 h 599527"/>
              <a:gd name="connsiteX7" fmla="*/ 275305 w 412043"/>
              <a:gd name="connsiteY7" fmla="*/ 271238 h 599527"/>
              <a:gd name="connsiteX8" fmla="*/ 222034 w 412043"/>
              <a:gd name="connsiteY8" fmla="*/ 284828 h 599527"/>
              <a:gd name="connsiteX9" fmla="*/ 158437 w 412043"/>
              <a:gd name="connsiteY9" fmla="*/ 287640 h 599527"/>
              <a:gd name="connsiteX10" fmla="*/ 99299 w 412043"/>
              <a:gd name="connsiteY10" fmla="*/ 277096 h 599527"/>
              <a:gd name="connsiteX11" fmla="*/ 205137 w 412043"/>
              <a:gd name="connsiteY11" fmla="*/ 392382 h 599527"/>
              <a:gd name="connsiteX12" fmla="*/ 312148 w 412043"/>
              <a:gd name="connsiteY12" fmla="*/ 309432 h 599527"/>
              <a:gd name="connsiteX13" fmla="*/ 305108 w 412043"/>
              <a:gd name="connsiteY13" fmla="*/ 310604 h 599527"/>
              <a:gd name="connsiteX14" fmla="*/ 275305 w 412043"/>
              <a:gd name="connsiteY14" fmla="*/ 271238 h 599527"/>
              <a:gd name="connsiteX15" fmla="*/ 93667 w 412043"/>
              <a:gd name="connsiteY15" fmla="*/ 210314 h 599527"/>
              <a:gd name="connsiteX16" fmla="*/ 93667 w 412043"/>
              <a:gd name="connsiteY16" fmla="*/ 212892 h 599527"/>
              <a:gd name="connsiteX17" fmla="*/ 100003 w 412043"/>
              <a:gd name="connsiteY17" fmla="*/ 213595 h 599527"/>
              <a:gd name="connsiteX18" fmla="*/ 93667 w 412043"/>
              <a:gd name="connsiteY18" fmla="*/ 210314 h 599527"/>
              <a:gd name="connsiteX19" fmla="*/ 80202 w 412043"/>
              <a:gd name="connsiteY19" fmla="*/ 186355 h 599527"/>
              <a:gd name="connsiteX20" fmla="*/ 89443 w 412043"/>
              <a:gd name="connsiteY20" fmla="*/ 186413 h 599527"/>
              <a:gd name="connsiteX21" fmla="*/ 269203 w 412043"/>
              <a:gd name="connsiteY21" fmla="*/ 193209 h 599527"/>
              <a:gd name="connsiteX22" fmla="*/ 279059 w 412043"/>
              <a:gd name="connsiteY22" fmla="*/ 193209 h 599527"/>
              <a:gd name="connsiteX23" fmla="*/ 284222 w 412043"/>
              <a:gd name="connsiteY23" fmla="*/ 197661 h 599527"/>
              <a:gd name="connsiteX24" fmla="*/ 288681 w 412043"/>
              <a:gd name="connsiteY24" fmla="*/ 255304 h 599527"/>
              <a:gd name="connsiteX25" fmla="*/ 312383 w 412043"/>
              <a:gd name="connsiteY25" fmla="*/ 289280 h 599527"/>
              <a:gd name="connsiteX26" fmla="*/ 314965 w 412043"/>
              <a:gd name="connsiteY26" fmla="*/ 201175 h 599527"/>
              <a:gd name="connsiteX27" fmla="*/ 330688 w 412043"/>
              <a:gd name="connsiteY27" fmla="*/ 199067 h 599527"/>
              <a:gd name="connsiteX28" fmla="*/ 260051 w 412043"/>
              <a:gd name="connsiteY28" fmla="*/ 401287 h 599527"/>
              <a:gd name="connsiteX29" fmla="*/ 263102 w 412043"/>
              <a:gd name="connsiteY29" fmla="*/ 401990 h 599527"/>
              <a:gd name="connsiteX30" fmla="*/ 401325 w 412043"/>
              <a:gd name="connsiteY30" fmla="*/ 590150 h 599527"/>
              <a:gd name="connsiteX31" fmla="*/ 389591 w 412043"/>
              <a:gd name="connsiteY31" fmla="*/ 599289 h 599527"/>
              <a:gd name="connsiteX32" fmla="*/ 262867 w 412043"/>
              <a:gd name="connsiteY32" fmla="*/ 595071 h 599527"/>
              <a:gd name="connsiteX33" fmla="*/ 253480 w 412043"/>
              <a:gd name="connsiteY33" fmla="*/ 585698 h 599527"/>
              <a:gd name="connsiteX34" fmla="*/ 247144 w 412043"/>
              <a:gd name="connsiteY34" fmla="*/ 414643 h 599527"/>
              <a:gd name="connsiteX35" fmla="*/ 248786 w 412043"/>
              <a:gd name="connsiteY35" fmla="*/ 410660 h 599527"/>
              <a:gd name="connsiteX36" fmla="*/ 251603 w 412043"/>
              <a:gd name="connsiteY36" fmla="*/ 404802 h 599527"/>
              <a:gd name="connsiteX37" fmla="*/ 205137 w 412043"/>
              <a:gd name="connsiteY37" fmla="*/ 410894 h 599527"/>
              <a:gd name="connsiteX38" fmla="*/ 75362 w 412043"/>
              <a:gd name="connsiteY38" fmla="*/ 194380 h 599527"/>
              <a:gd name="connsiteX39" fmla="*/ 80202 w 412043"/>
              <a:gd name="connsiteY39" fmla="*/ 186355 h 599527"/>
              <a:gd name="connsiteX40" fmla="*/ 204675 w 412043"/>
              <a:gd name="connsiteY40" fmla="*/ 1071 h 599527"/>
              <a:gd name="connsiteX41" fmla="*/ 297143 w 412043"/>
              <a:gd name="connsiteY41" fmla="*/ 36212 h 599527"/>
              <a:gd name="connsiteX42" fmla="*/ 407917 w 412043"/>
              <a:gd name="connsiteY42" fmla="*/ 88689 h 599527"/>
              <a:gd name="connsiteX43" fmla="*/ 405335 w 412043"/>
              <a:gd name="connsiteY43" fmla="*/ 105790 h 599527"/>
              <a:gd name="connsiteX44" fmla="*/ 367785 w 412043"/>
              <a:gd name="connsiteY44" fmla="*/ 126172 h 599527"/>
              <a:gd name="connsiteX45" fmla="*/ 313102 w 412043"/>
              <a:gd name="connsiteY45" fmla="*/ 136948 h 599527"/>
              <a:gd name="connsiteX46" fmla="*/ 200216 w 412043"/>
              <a:gd name="connsiteY46" fmla="*/ 93608 h 599527"/>
              <a:gd name="connsiteX47" fmla="*/ 282123 w 412043"/>
              <a:gd name="connsiteY47" fmla="*/ 147256 h 599527"/>
              <a:gd name="connsiteX48" fmla="*/ 285643 w 412043"/>
              <a:gd name="connsiteY48" fmla="*/ 153347 h 599527"/>
              <a:gd name="connsiteX49" fmla="*/ 285174 w 412043"/>
              <a:gd name="connsiteY49" fmla="*/ 165530 h 599527"/>
              <a:gd name="connsiteX50" fmla="*/ 172757 w 412043"/>
              <a:gd name="connsiteY50" fmla="*/ 198328 h 599527"/>
              <a:gd name="connsiteX51" fmla="*/ 8474 w 412043"/>
              <a:gd name="connsiteY51" fmla="*/ 110242 h 599527"/>
              <a:gd name="connsiteX52" fmla="*/ 3310 w 412043"/>
              <a:gd name="connsiteY52" fmla="*/ 97122 h 599527"/>
              <a:gd name="connsiteX53" fmla="*/ 113146 w 412043"/>
              <a:gd name="connsiteY53" fmla="*/ 45114 h 599527"/>
              <a:gd name="connsiteX54" fmla="*/ 204675 w 412043"/>
              <a:gd name="connsiteY54" fmla="*/ 1071 h 59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12043" h="599527">
                <a:moveTo>
                  <a:pt x="142468" y="396851"/>
                </a:moveTo>
                <a:cubicBezTo>
                  <a:pt x="148333" y="395679"/>
                  <a:pt x="153730" y="399662"/>
                  <a:pt x="153964" y="405753"/>
                </a:cubicBezTo>
                <a:cubicBezTo>
                  <a:pt x="156545" y="464556"/>
                  <a:pt x="165461" y="529215"/>
                  <a:pt x="144814" y="585910"/>
                </a:cubicBezTo>
                <a:cubicBezTo>
                  <a:pt x="145048" y="590595"/>
                  <a:pt x="142233" y="595515"/>
                  <a:pt x="135898" y="595046"/>
                </a:cubicBezTo>
                <a:cubicBezTo>
                  <a:pt x="95776" y="591532"/>
                  <a:pt x="55889" y="595046"/>
                  <a:pt x="15768" y="599498"/>
                </a:cubicBezTo>
                <a:cubicBezTo>
                  <a:pt x="10606" y="599966"/>
                  <a:pt x="6383" y="594812"/>
                  <a:pt x="6383" y="590127"/>
                </a:cubicBezTo>
                <a:cubicBezTo>
                  <a:pt x="5913" y="512348"/>
                  <a:pt x="62224" y="414655"/>
                  <a:pt x="142468" y="396851"/>
                </a:cubicBezTo>
                <a:close/>
                <a:moveTo>
                  <a:pt x="275305" y="271238"/>
                </a:moveTo>
                <a:cubicBezTo>
                  <a:pt x="260285" y="280845"/>
                  <a:pt x="239165" y="282251"/>
                  <a:pt x="222034" y="284828"/>
                </a:cubicBezTo>
                <a:cubicBezTo>
                  <a:pt x="201148" y="287875"/>
                  <a:pt x="179557" y="289280"/>
                  <a:pt x="158437" y="287640"/>
                </a:cubicBezTo>
                <a:cubicBezTo>
                  <a:pt x="143887" y="286469"/>
                  <a:pt x="116899" y="285531"/>
                  <a:pt x="99299" y="277096"/>
                </a:cubicBezTo>
                <a:cubicBezTo>
                  <a:pt x="110329" y="336145"/>
                  <a:pt x="139663" y="391679"/>
                  <a:pt x="205137" y="392382"/>
                </a:cubicBezTo>
                <a:cubicBezTo>
                  <a:pt x="262163" y="392851"/>
                  <a:pt x="296895" y="356062"/>
                  <a:pt x="312148" y="309432"/>
                </a:cubicBezTo>
                <a:cubicBezTo>
                  <a:pt x="310036" y="310135"/>
                  <a:pt x="307690" y="310604"/>
                  <a:pt x="305108" y="310604"/>
                </a:cubicBezTo>
                <a:cubicBezTo>
                  <a:pt x="287977" y="310604"/>
                  <a:pt x="279294" y="293030"/>
                  <a:pt x="275305" y="271238"/>
                </a:cubicBezTo>
                <a:close/>
                <a:moveTo>
                  <a:pt x="93667" y="210314"/>
                </a:moveTo>
                <a:cubicBezTo>
                  <a:pt x="93667" y="211251"/>
                  <a:pt x="93667" y="212189"/>
                  <a:pt x="93667" y="212892"/>
                </a:cubicBezTo>
                <a:cubicBezTo>
                  <a:pt x="95779" y="213126"/>
                  <a:pt x="97891" y="213360"/>
                  <a:pt x="100003" y="213595"/>
                </a:cubicBezTo>
                <a:cubicBezTo>
                  <a:pt x="97891" y="212423"/>
                  <a:pt x="95779" y="211486"/>
                  <a:pt x="93667" y="210314"/>
                </a:cubicBezTo>
                <a:close/>
                <a:moveTo>
                  <a:pt x="80202" y="186355"/>
                </a:moveTo>
                <a:cubicBezTo>
                  <a:pt x="82872" y="184714"/>
                  <a:pt x="86275" y="184422"/>
                  <a:pt x="89443" y="186413"/>
                </a:cubicBezTo>
                <a:cubicBezTo>
                  <a:pt x="144356" y="220156"/>
                  <a:pt x="213820" y="232340"/>
                  <a:pt x="269203" y="193209"/>
                </a:cubicBezTo>
                <a:cubicBezTo>
                  <a:pt x="272958" y="190397"/>
                  <a:pt x="276713" y="191100"/>
                  <a:pt x="279059" y="193209"/>
                </a:cubicBezTo>
                <a:cubicBezTo>
                  <a:pt x="281641" y="192271"/>
                  <a:pt x="284692" y="194380"/>
                  <a:pt x="284222" y="197661"/>
                </a:cubicBezTo>
                <a:cubicBezTo>
                  <a:pt x="281876" y="216172"/>
                  <a:pt x="285630" y="237261"/>
                  <a:pt x="288681" y="255304"/>
                </a:cubicBezTo>
                <a:cubicBezTo>
                  <a:pt x="289620" y="261162"/>
                  <a:pt x="304404" y="314587"/>
                  <a:pt x="312383" y="289280"/>
                </a:cubicBezTo>
                <a:cubicBezTo>
                  <a:pt x="321301" y="261162"/>
                  <a:pt x="315434" y="229997"/>
                  <a:pt x="314965" y="201175"/>
                </a:cubicBezTo>
                <a:cubicBezTo>
                  <a:pt x="314730" y="192037"/>
                  <a:pt x="328341" y="190397"/>
                  <a:pt x="330688" y="199067"/>
                </a:cubicBezTo>
                <a:cubicBezTo>
                  <a:pt x="349227" y="270300"/>
                  <a:pt x="328576" y="369887"/>
                  <a:pt x="260051" y="401287"/>
                </a:cubicBezTo>
                <a:cubicBezTo>
                  <a:pt x="261224" y="401287"/>
                  <a:pt x="262163" y="401521"/>
                  <a:pt x="263102" y="401990"/>
                </a:cubicBezTo>
                <a:cubicBezTo>
                  <a:pt x="332330" y="431983"/>
                  <a:pt x="406018" y="510481"/>
                  <a:pt x="401325" y="590150"/>
                </a:cubicBezTo>
                <a:cubicBezTo>
                  <a:pt x="401090" y="596711"/>
                  <a:pt x="395693" y="600226"/>
                  <a:pt x="389591" y="599289"/>
                </a:cubicBezTo>
                <a:cubicBezTo>
                  <a:pt x="347584" y="591790"/>
                  <a:pt x="305108" y="600460"/>
                  <a:pt x="262867" y="595071"/>
                </a:cubicBezTo>
                <a:cubicBezTo>
                  <a:pt x="257704" y="594368"/>
                  <a:pt x="253480" y="591322"/>
                  <a:pt x="253480" y="585698"/>
                </a:cubicBezTo>
                <a:cubicBezTo>
                  <a:pt x="252776" y="529226"/>
                  <a:pt x="239634" y="471115"/>
                  <a:pt x="247144" y="414643"/>
                </a:cubicBezTo>
                <a:cubicBezTo>
                  <a:pt x="247378" y="413003"/>
                  <a:pt x="248082" y="411831"/>
                  <a:pt x="248786" y="410660"/>
                </a:cubicBezTo>
                <a:cubicBezTo>
                  <a:pt x="249021" y="408551"/>
                  <a:pt x="249960" y="406442"/>
                  <a:pt x="251603" y="404802"/>
                </a:cubicBezTo>
                <a:cubicBezTo>
                  <a:pt x="237757" y="409722"/>
                  <a:pt x="222268" y="411831"/>
                  <a:pt x="205137" y="410894"/>
                </a:cubicBezTo>
                <a:cubicBezTo>
                  <a:pt x="96248" y="404802"/>
                  <a:pt x="70903" y="284360"/>
                  <a:pt x="75362" y="194380"/>
                </a:cubicBezTo>
                <a:cubicBezTo>
                  <a:pt x="75597" y="190983"/>
                  <a:pt x="77533" y="187995"/>
                  <a:pt x="80202" y="186355"/>
                </a:cubicBezTo>
                <a:close/>
                <a:moveTo>
                  <a:pt x="204675" y="1071"/>
                </a:moveTo>
                <a:cubicBezTo>
                  <a:pt x="234481" y="-6191"/>
                  <a:pt x="272031" y="25435"/>
                  <a:pt x="297143" y="36212"/>
                </a:cubicBezTo>
                <a:cubicBezTo>
                  <a:pt x="334459" y="52142"/>
                  <a:pt x="374121" y="65730"/>
                  <a:pt x="407917" y="88689"/>
                </a:cubicBezTo>
                <a:cubicBezTo>
                  <a:pt x="415192" y="93843"/>
                  <a:pt x="411907" y="104150"/>
                  <a:pt x="405335" y="105790"/>
                </a:cubicBezTo>
                <a:cubicBezTo>
                  <a:pt x="398295" y="117035"/>
                  <a:pt x="379519" y="122189"/>
                  <a:pt x="367785" y="126172"/>
                </a:cubicBezTo>
                <a:cubicBezTo>
                  <a:pt x="351122" y="132029"/>
                  <a:pt x="331173" y="139291"/>
                  <a:pt x="313102" y="136948"/>
                </a:cubicBezTo>
                <a:cubicBezTo>
                  <a:pt x="271562" y="131092"/>
                  <a:pt x="243164" y="83769"/>
                  <a:pt x="200216" y="93608"/>
                </a:cubicBezTo>
                <a:cubicBezTo>
                  <a:pt x="211481" y="122658"/>
                  <a:pt x="255368" y="139760"/>
                  <a:pt x="282123" y="147256"/>
                </a:cubicBezTo>
                <a:cubicBezTo>
                  <a:pt x="285174" y="148193"/>
                  <a:pt x="286113" y="150770"/>
                  <a:pt x="285643" y="153347"/>
                </a:cubicBezTo>
                <a:cubicBezTo>
                  <a:pt x="288459" y="156627"/>
                  <a:pt x="289398" y="161547"/>
                  <a:pt x="285174" y="165530"/>
                </a:cubicBezTo>
                <a:cubicBezTo>
                  <a:pt x="254899" y="193408"/>
                  <a:pt x="213358" y="214961"/>
                  <a:pt x="172757" y="198328"/>
                </a:cubicBezTo>
                <a:cubicBezTo>
                  <a:pt x="115493" y="174666"/>
                  <a:pt x="65738" y="134840"/>
                  <a:pt x="8474" y="110242"/>
                </a:cubicBezTo>
                <a:cubicBezTo>
                  <a:pt x="728" y="112584"/>
                  <a:pt x="-3261" y="101339"/>
                  <a:pt x="3310" y="97122"/>
                </a:cubicBezTo>
                <a:cubicBezTo>
                  <a:pt x="37341" y="75569"/>
                  <a:pt x="76769" y="61982"/>
                  <a:pt x="113146" y="45114"/>
                </a:cubicBezTo>
                <a:cubicBezTo>
                  <a:pt x="142482" y="31526"/>
                  <a:pt x="173226" y="8568"/>
                  <a:pt x="204675" y="1071"/>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ollar-sign_16302">
            <a:extLst>
              <a:ext uri="{FF2B5EF4-FFF2-40B4-BE49-F238E27FC236}">
                <a16:creationId xmlns:a16="http://schemas.microsoft.com/office/drawing/2014/main" id="{8048E272-C14F-411E-B2A1-94EF407EE3C7}"/>
              </a:ext>
            </a:extLst>
          </p:cNvPr>
          <p:cNvSpPr/>
          <p:nvPr/>
        </p:nvSpPr>
        <p:spPr>
          <a:xfrm>
            <a:off x="9075191" y="2102279"/>
            <a:ext cx="420774" cy="609685"/>
          </a:xfrm>
          <a:custGeom>
            <a:avLst/>
            <a:gdLst>
              <a:gd name="T0" fmla="*/ 1108 w 2164"/>
              <a:gd name="T1" fmla="*/ 3140 h 3140"/>
              <a:gd name="T2" fmla="*/ 1298 w 2164"/>
              <a:gd name="T3" fmla="*/ 2960 h 3140"/>
              <a:gd name="T4" fmla="*/ 1298 w 2164"/>
              <a:gd name="T5" fmla="*/ 2781 h 3140"/>
              <a:gd name="T6" fmla="*/ 2164 w 2164"/>
              <a:gd name="T7" fmla="*/ 2010 h 3140"/>
              <a:gd name="T8" fmla="*/ 2164 w 2164"/>
              <a:gd name="T9" fmla="*/ 2003 h 3140"/>
              <a:gd name="T10" fmla="*/ 1287 w 2164"/>
              <a:gd name="T11" fmla="*/ 1203 h 3140"/>
              <a:gd name="T12" fmla="*/ 1287 w 2164"/>
              <a:gd name="T13" fmla="*/ 778 h 3140"/>
              <a:gd name="T14" fmla="*/ 1543 w 2164"/>
              <a:gd name="T15" fmla="*/ 865 h 3140"/>
              <a:gd name="T16" fmla="*/ 1929 w 2164"/>
              <a:gd name="T17" fmla="*/ 752 h 3140"/>
              <a:gd name="T18" fmla="*/ 1814 w 2164"/>
              <a:gd name="T19" fmla="*/ 357 h 3140"/>
              <a:gd name="T20" fmla="*/ 1306 w 2164"/>
              <a:gd name="T21" fmla="*/ 220 h 3140"/>
              <a:gd name="T22" fmla="*/ 1306 w 2164"/>
              <a:gd name="T23" fmla="*/ 110 h 3140"/>
              <a:gd name="T24" fmla="*/ 1115 w 2164"/>
              <a:gd name="T25" fmla="*/ 0 h 3140"/>
              <a:gd name="T26" fmla="*/ 924 w 2164"/>
              <a:gd name="T27" fmla="*/ 104 h 3140"/>
              <a:gd name="T28" fmla="*/ 924 w 2164"/>
              <a:gd name="T29" fmla="*/ 209 h 3140"/>
              <a:gd name="T30" fmla="*/ 47 w 2164"/>
              <a:gd name="T31" fmla="*/ 983 h 3140"/>
              <a:gd name="T32" fmla="*/ 47 w 2164"/>
              <a:gd name="T33" fmla="*/ 990 h 3140"/>
              <a:gd name="T34" fmla="*/ 939 w 2164"/>
              <a:gd name="T35" fmla="*/ 1783 h 3140"/>
              <a:gd name="T36" fmla="*/ 939 w 2164"/>
              <a:gd name="T37" fmla="*/ 2223 h 3140"/>
              <a:gd name="T38" fmla="*/ 517 w 2164"/>
              <a:gd name="T39" fmla="*/ 2081 h 3140"/>
              <a:gd name="T40" fmla="*/ 91 w 2164"/>
              <a:gd name="T41" fmla="*/ 2166 h 3140"/>
              <a:gd name="T42" fmla="*/ 189 w 2164"/>
              <a:gd name="T43" fmla="*/ 2567 h 3140"/>
              <a:gd name="T44" fmla="*/ 917 w 2164"/>
              <a:gd name="T45" fmla="*/ 2774 h 3140"/>
              <a:gd name="T46" fmla="*/ 917 w 2164"/>
              <a:gd name="T47" fmla="*/ 2957 h 3140"/>
              <a:gd name="T48" fmla="*/ 1108 w 2164"/>
              <a:gd name="T49" fmla="*/ 3140 h 3140"/>
              <a:gd name="T50" fmla="*/ 1284 w 2164"/>
              <a:gd name="T51" fmla="*/ 1842 h 3140"/>
              <a:gd name="T52" fmla="*/ 1530 w 2164"/>
              <a:gd name="T53" fmla="*/ 2051 h 3140"/>
              <a:gd name="T54" fmla="*/ 1530 w 2164"/>
              <a:gd name="T55" fmla="*/ 2058 h 3140"/>
              <a:gd name="T56" fmla="*/ 1284 w 2164"/>
              <a:gd name="T57" fmla="*/ 2245 h 3140"/>
              <a:gd name="T58" fmla="*/ 1284 w 2164"/>
              <a:gd name="T59" fmla="*/ 1842 h 3140"/>
              <a:gd name="T60" fmla="*/ 693 w 2164"/>
              <a:gd name="T61" fmla="*/ 935 h 3140"/>
              <a:gd name="T62" fmla="*/ 693 w 2164"/>
              <a:gd name="T63" fmla="*/ 928 h 3140"/>
              <a:gd name="T64" fmla="*/ 942 w 2164"/>
              <a:gd name="T65" fmla="*/ 745 h 3140"/>
              <a:gd name="T66" fmla="*/ 942 w 2164"/>
              <a:gd name="T67" fmla="*/ 1141 h 3140"/>
              <a:gd name="T68" fmla="*/ 693 w 2164"/>
              <a:gd name="T69" fmla="*/ 935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4" h="3140">
                <a:moveTo>
                  <a:pt x="1108" y="3140"/>
                </a:moveTo>
                <a:cubicBezTo>
                  <a:pt x="1213" y="3140"/>
                  <a:pt x="1298" y="3060"/>
                  <a:pt x="1298" y="2960"/>
                </a:cubicBezTo>
                <a:lnTo>
                  <a:pt x="1298" y="2781"/>
                </a:lnTo>
                <a:cubicBezTo>
                  <a:pt x="1819" y="2733"/>
                  <a:pt x="2164" y="2458"/>
                  <a:pt x="2164" y="2010"/>
                </a:cubicBezTo>
                <a:lnTo>
                  <a:pt x="2164" y="2003"/>
                </a:lnTo>
                <a:cubicBezTo>
                  <a:pt x="2164" y="1548"/>
                  <a:pt x="1871" y="1339"/>
                  <a:pt x="1287" y="1203"/>
                </a:cubicBezTo>
                <a:lnTo>
                  <a:pt x="1287" y="778"/>
                </a:lnTo>
                <a:cubicBezTo>
                  <a:pt x="1371" y="798"/>
                  <a:pt x="1458" y="827"/>
                  <a:pt x="1543" y="865"/>
                </a:cubicBezTo>
                <a:cubicBezTo>
                  <a:pt x="1680" y="926"/>
                  <a:pt x="1846" y="888"/>
                  <a:pt x="1929" y="752"/>
                </a:cubicBezTo>
                <a:cubicBezTo>
                  <a:pt x="2013" y="616"/>
                  <a:pt x="1968" y="426"/>
                  <a:pt x="1814" y="357"/>
                </a:cubicBezTo>
                <a:cubicBezTo>
                  <a:pt x="1660" y="288"/>
                  <a:pt x="1492" y="240"/>
                  <a:pt x="1306" y="220"/>
                </a:cubicBezTo>
                <a:lnTo>
                  <a:pt x="1306" y="110"/>
                </a:lnTo>
                <a:cubicBezTo>
                  <a:pt x="1306" y="49"/>
                  <a:pt x="1220" y="0"/>
                  <a:pt x="1115" y="0"/>
                </a:cubicBezTo>
                <a:cubicBezTo>
                  <a:pt x="1010" y="0"/>
                  <a:pt x="924" y="47"/>
                  <a:pt x="924" y="104"/>
                </a:cubicBezTo>
                <a:lnTo>
                  <a:pt x="924" y="209"/>
                </a:lnTo>
                <a:cubicBezTo>
                  <a:pt x="363" y="249"/>
                  <a:pt x="47" y="550"/>
                  <a:pt x="47" y="983"/>
                </a:cubicBezTo>
                <a:lnTo>
                  <a:pt x="47" y="990"/>
                </a:lnTo>
                <a:cubicBezTo>
                  <a:pt x="47" y="1445"/>
                  <a:pt x="348" y="1647"/>
                  <a:pt x="939" y="1783"/>
                </a:cubicBezTo>
                <a:lnTo>
                  <a:pt x="939" y="2223"/>
                </a:lnTo>
                <a:cubicBezTo>
                  <a:pt x="797" y="2200"/>
                  <a:pt x="658" y="2153"/>
                  <a:pt x="517" y="2081"/>
                </a:cubicBezTo>
                <a:cubicBezTo>
                  <a:pt x="367" y="2004"/>
                  <a:pt x="183" y="2032"/>
                  <a:pt x="91" y="2166"/>
                </a:cubicBezTo>
                <a:cubicBezTo>
                  <a:pt x="0" y="2301"/>
                  <a:pt x="37" y="2492"/>
                  <a:pt x="189" y="2567"/>
                </a:cubicBezTo>
                <a:cubicBezTo>
                  <a:pt x="411" y="2676"/>
                  <a:pt x="663" y="2748"/>
                  <a:pt x="917" y="2774"/>
                </a:cubicBezTo>
                <a:lnTo>
                  <a:pt x="917" y="2957"/>
                </a:lnTo>
                <a:cubicBezTo>
                  <a:pt x="917" y="3058"/>
                  <a:pt x="1002" y="3140"/>
                  <a:pt x="1108" y="3140"/>
                </a:cubicBezTo>
                <a:close/>
                <a:moveTo>
                  <a:pt x="1284" y="1842"/>
                </a:moveTo>
                <a:cubicBezTo>
                  <a:pt x="1475" y="1897"/>
                  <a:pt x="1530" y="1952"/>
                  <a:pt x="1530" y="2051"/>
                </a:cubicBezTo>
                <a:lnTo>
                  <a:pt x="1530" y="2058"/>
                </a:lnTo>
                <a:cubicBezTo>
                  <a:pt x="1530" y="2164"/>
                  <a:pt x="1453" y="2227"/>
                  <a:pt x="1284" y="2245"/>
                </a:cubicBezTo>
                <a:lnTo>
                  <a:pt x="1284" y="1842"/>
                </a:lnTo>
                <a:close/>
                <a:moveTo>
                  <a:pt x="693" y="935"/>
                </a:moveTo>
                <a:lnTo>
                  <a:pt x="693" y="928"/>
                </a:lnTo>
                <a:cubicBezTo>
                  <a:pt x="693" y="833"/>
                  <a:pt x="763" y="759"/>
                  <a:pt x="942" y="745"/>
                </a:cubicBezTo>
                <a:lnTo>
                  <a:pt x="942" y="1141"/>
                </a:lnTo>
                <a:cubicBezTo>
                  <a:pt x="744" y="1086"/>
                  <a:pt x="693" y="1031"/>
                  <a:pt x="693" y="935"/>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文本框 24">
            <a:extLst>
              <a:ext uri="{FF2B5EF4-FFF2-40B4-BE49-F238E27FC236}">
                <a16:creationId xmlns:a16="http://schemas.microsoft.com/office/drawing/2014/main" id="{288E641D-EE95-48C5-94E6-EC2078BC71FC}"/>
              </a:ext>
            </a:extLst>
          </p:cNvPr>
          <p:cNvSpPr txBox="1"/>
          <p:nvPr/>
        </p:nvSpPr>
        <p:spPr>
          <a:xfrm>
            <a:off x="7110067" y="2248006"/>
            <a:ext cx="1606186" cy="362792"/>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提升模型知名度</a:t>
            </a:r>
            <a:endParaRPr lang="en-US" altLang="zh-CN" sz="1600" b="1" kern="1400" dirty="0">
              <a:solidFill>
                <a:srgbClr val="2F2F2F"/>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5E6BCD15-548F-414B-87BB-FE66DC9AE058}"/>
              </a:ext>
            </a:extLst>
          </p:cNvPr>
          <p:cNvSpPr txBox="1"/>
          <p:nvPr/>
        </p:nvSpPr>
        <p:spPr>
          <a:xfrm>
            <a:off x="9490709" y="2252220"/>
            <a:ext cx="1923921" cy="362792"/>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提供更多销售线索</a:t>
            </a:r>
            <a:endParaRPr lang="en-US" altLang="zh-CN" sz="1600" b="1" kern="1400" dirty="0">
              <a:solidFill>
                <a:srgbClr val="2F2F2F"/>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E92BA11E-830D-4880-A13F-BFF019485F18}"/>
              </a:ext>
            </a:extLst>
          </p:cNvPr>
          <p:cNvSpPr txBox="1"/>
          <p:nvPr/>
        </p:nvSpPr>
        <p:spPr>
          <a:xfrm>
            <a:off x="7082370" y="3898268"/>
            <a:ext cx="1606186" cy="658257"/>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建立生态，打造持续增长动力</a:t>
            </a:r>
            <a:endParaRPr lang="en-US" altLang="zh-CN" sz="1600" b="1" kern="1400" dirty="0">
              <a:solidFill>
                <a:srgbClr val="2F2F2F"/>
              </a:solidFill>
              <a:latin typeface="微软雅黑" panose="020B0503020204020204" pitchFamily="34" charset="-122"/>
              <a:ea typeface="微软雅黑" panose="020B0503020204020204" pitchFamily="34" charset="-122"/>
            </a:endParaRPr>
          </a:p>
        </p:txBody>
      </p:sp>
      <p:sp>
        <p:nvSpPr>
          <p:cNvPr id="28" name="文本框 27">
            <a:extLst>
              <a:ext uri="{FF2B5EF4-FFF2-40B4-BE49-F238E27FC236}">
                <a16:creationId xmlns:a16="http://schemas.microsoft.com/office/drawing/2014/main" id="{77C50B41-7AA8-4803-BAEF-F6E3B0411FB1}"/>
              </a:ext>
            </a:extLst>
          </p:cNvPr>
          <p:cNvSpPr txBox="1"/>
          <p:nvPr/>
        </p:nvSpPr>
        <p:spPr>
          <a:xfrm>
            <a:off x="9441783" y="3893446"/>
            <a:ext cx="1847220" cy="658257"/>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提高模型完善速度，助力人才争夺</a:t>
            </a:r>
            <a:endParaRPr lang="en-US" altLang="zh-CN" sz="1600" b="1" kern="1400" dirty="0">
              <a:solidFill>
                <a:srgbClr val="2F2F2F"/>
              </a:solidFill>
              <a:latin typeface="微软雅黑" panose="020B0503020204020204" pitchFamily="34" charset="-122"/>
              <a:ea typeface="微软雅黑" panose="020B0503020204020204" pitchFamily="34" charset="-122"/>
            </a:endParaRPr>
          </a:p>
        </p:txBody>
      </p:sp>
      <p:sp>
        <p:nvSpPr>
          <p:cNvPr id="29" name="文本框 28">
            <a:extLst>
              <a:ext uri="{FF2B5EF4-FFF2-40B4-BE49-F238E27FC236}">
                <a16:creationId xmlns:a16="http://schemas.microsoft.com/office/drawing/2014/main" id="{30A52422-440E-4E0A-8C92-9748671E6C43}"/>
              </a:ext>
            </a:extLst>
          </p:cNvPr>
          <p:cNvSpPr txBox="1"/>
          <p:nvPr/>
        </p:nvSpPr>
        <p:spPr>
          <a:xfrm>
            <a:off x="6528080" y="2711964"/>
            <a:ext cx="2243589" cy="738664"/>
          </a:xfrm>
          <a:prstGeom prst="rect">
            <a:avLst/>
          </a:prstGeom>
          <a:noFill/>
        </p:spPr>
        <p:txBody>
          <a:bodyPr wrap="square" rtlCol="0">
            <a:spAutoFit/>
          </a:bodyPr>
          <a:lstStyle/>
          <a:p>
            <a:r>
              <a:rPr lang="zh-CN" altLang="en-US" sz="1400" dirty="0">
                <a:solidFill>
                  <a:srgbClr val="000000"/>
                </a:solidFill>
                <a:latin typeface="AAAAAH+NotoSansCJKsc-Light"/>
              </a:rPr>
              <a:t>开源可以降低大模型的使用门槛，从而提高模型在用户中的知名度</a:t>
            </a:r>
            <a:endParaRPr lang="en-US" altLang="zh-CN" sz="1400" dirty="0">
              <a:solidFill>
                <a:srgbClr val="000000"/>
              </a:solidFill>
              <a:latin typeface="AAAAAH+NotoSansCJKsc-Light"/>
            </a:endParaRPr>
          </a:p>
        </p:txBody>
      </p:sp>
      <p:sp>
        <p:nvSpPr>
          <p:cNvPr id="30" name="文本框 29">
            <a:extLst>
              <a:ext uri="{FF2B5EF4-FFF2-40B4-BE49-F238E27FC236}">
                <a16:creationId xmlns:a16="http://schemas.microsoft.com/office/drawing/2014/main" id="{E57A2FD3-5014-4142-A658-895C1310DF25}"/>
              </a:ext>
            </a:extLst>
          </p:cNvPr>
          <p:cNvSpPr txBox="1"/>
          <p:nvPr/>
        </p:nvSpPr>
        <p:spPr>
          <a:xfrm>
            <a:off x="9181932" y="2711964"/>
            <a:ext cx="2243589" cy="738664"/>
          </a:xfrm>
          <a:prstGeom prst="rect">
            <a:avLst/>
          </a:prstGeom>
          <a:noFill/>
        </p:spPr>
        <p:txBody>
          <a:bodyPr wrap="square" rtlCol="0">
            <a:spAutoFit/>
          </a:bodyPr>
          <a:lstStyle/>
          <a:p>
            <a:r>
              <a:rPr lang="zh-CN" altLang="en-US" sz="1400" dirty="0">
                <a:solidFill>
                  <a:srgbClr val="000000"/>
                </a:solidFill>
                <a:latin typeface="AAAAAH+NotoSansCJKsc-Light"/>
              </a:rPr>
              <a:t>开源可以为日后的商业化提供更多的销售线索，如在开源之上提供增值服务</a:t>
            </a:r>
            <a:endParaRPr lang="en-US" altLang="zh-CN" sz="1400" dirty="0">
              <a:solidFill>
                <a:srgbClr val="000000"/>
              </a:solidFill>
              <a:latin typeface="AAAAAH+NotoSansCJKsc-Light"/>
            </a:endParaRPr>
          </a:p>
        </p:txBody>
      </p:sp>
      <p:sp>
        <p:nvSpPr>
          <p:cNvPr id="31" name="文本框 30">
            <a:extLst>
              <a:ext uri="{FF2B5EF4-FFF2-40B4-BE49-F238E27FC236}">
                <a16:creationId xmlns:a16="http://schemas.microsoft.com/office/drawing/2014/main" id="{277CC1BA-0D7C-42EF-B086-1886A68ED814}"/>
              </a:ext>
            </a:extLst>
          </p:cNvPr>
          <p:cNvSpPr txBox="1"/>
          <p:nvPr/>
        </p:nvSpPr>
        <p:spPr>
          <a:xfrm>
            <a:off x="6500383" y="4576551"/>
            <a:ext cx="2243589" cy="954107"/>
          </a:xfrm>
          <a:prstGeom prst="rect">
            <a:avLst/>
          </a:prstGeom>
          <a:noFill/>
        </p:spPr>
        <p:txBody>
          <a:bodyPr wrap="square" rtlCol="0">
            <a:spAutoFit/>
          </a:bodyPr>
          <a:lstStyle/>
          <a:p>
            <a:r>
              <a:rPr lang="zh-CN" altLang="en-US" sz="1400" dirty="0">
                <a:solidFill>
                  <a:srgbClr val="000000"/>
                </a:solidFill>
                <a:latin typeface="AAAAAH+NotoSansCJKsc-Light"/>
              </a:rPr>
              <a:t>有利于围绕模型建立基础层生态，实现运营者、开发者、使用者之间的良性互动，提供持续增长动力</a:t>
            </a:r>
            <a:endParaRPr lang="en-US" altLang="zh-CN" sz="1400" dirty="0">
              <a:solidFill>
                <a:srgbClr val="000000"/>
              </a:solidFill>
              <a:latin typeface="AAAAAH+NotoSansCJKsc-Light"/>
            </a:endParaRPr>
          </a:p>
        </p:txBody>
      </p:sp>
      <p:sp>
        <p:nvSpPr>
          <p:cNvPr id="32" name="文本框 31">
            <a:extLst>
              <a:ext uri="{FF2B5EF4-FFF2-40B4-BE49-F238E27FC236}">
                <a16:creationId xmlns:a16="http://schemas.microsoft.com/office/drawing/2014/main" id="{16DF26E5-CD85-463D-9742-738BFF77A390}"/>
              </a:ext>
            </a:extLst>
          </p:cNvPr>
          <p:cNvSpPr txBox="1"/>
          <p:nvPr/>
        </p:nvSpPr>
        <p:spPr>
          <a:xfrm>
            <a:off x="9026092" y="4571729"/>
            <a:ext cx="2243589" cy="954107"/>
          </a:xfrm>
          <a:prstGeom prst="rect">
            <a:avLst/>
          </a:prstGeom>
          <a:noFill/>
        </p:spPr>
        <p:txBody>
          <a:bodyPr wrap="square" rtlCol="0">
            <a:spAutoFit/>
          </a:bodyPr>
          <a:lstStyle/>
          <a:p>
            <a:r>
              <a:rPr lang="zh-CN" altLang="en-US" sz="1400" dirty="0">
                <a:solidFill>
                  <a:srgbClr val="000000"/>
                </a:solidFill>
                <a:latin typeface="AAAAAH+NotoSansCJKsc-Light"/>
              </a:rPr>
              <a:t>更多开发者参与进来有助于加速模型相关附件的开发，同时网罗更多开发者加入到模型的完善之中</a:t>
            </a:r>
            <a:endParaRPr lang="en-US" altLang="zh-CN" sz="1400" dirty="0">
              <a:solidFill>
                <a:srgbClr val="000000"/>
              </a:solidFill>
              <a:latin typeface="AAAAAH+NotoSansCJKsc-Light"/>
            </a:endParaRPr>
          </a:p>
        </p:txBody>
      </p:sp>
      <p:sp>
        <p:nvSpPr>
          <p:cNvPr id="3" name="灯片编号占位符 2">
            <a:extLst>
              <a:ext uri="{FF2B5EF4-FFF2-40B4-BE49-F238E27FC236}">
                <a16:creationId xmlns:a16="http://schemas.microsoft.com/office/drawing/2014/main" id="{AA86F790-BD4E-421F-ADB4-551E2170CF01}"/>
              </a:ext>
            </a:extLst>
          </p:cNvPr>
          <p:cNvSpPr>
            <a:spLocks noGrp="1"/>
          </p:cNvSpPr>
          <p:nvPr>
            <p:ph type="sldNum" sz="quarter" idx="12"/>
          </p:nvPr>
        </p:nvSpPr>
        <p:spPr/>
        <p:txBody>
          <a:bodyPr/>
          <a:lstStyle/>
          <a:p>
            <a:fld id="{65703A48-C316-4AA3-8E4E-4433376E065D}" type="slidenum">
              <a:rPr lang="zh-CN" altLang="en-US" smtClean="0"/>
              <a:t>10</a:t>
            </a:fld>
            <a:endParaRPr lang="zh-CN" altLang="en-US"/>
          </a:p>
        </p:txBody>
      </p:sp>
    </p:spTree>
    <p:extLst>
      <p:ext uri="{BB962C8B-B14F-4D97-AF65-F5344CB8AC3E}">
        <p14:creationId xmlns:p14="http://schemas.microsoft.com/office/powerpoint/2010/main" val="3023265401"/>
      </p:ext>
    </p:extLst>
  </p:cSld>
  <p:clrMapOvr>
    <a:masterClrMapping/>
  </p:clrMapOvr>
  <p:transition spd="slow">
    <p:randomBa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979997" y="4191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900" i="1" dirty="0">
                <a:solidFill>
                  <a:srgbClr val="445185"/>
                </a:solidFill>
                <a:latin typeface="黑体" panose="02010609060101010101" charset="-122"/>
                <a:ea typeface="黑体" panose="02010609060101010101" charset="-122"/>
              </a:rPr>
              <a:t>AI Infra</a:t>
            </a:r>
            <a:r>
              <a:rPr lang="zh-CN" altLang="en-US" sz="2900" i="1" dirty="0">
                <a:solidFill>
                  <a:srgbClr val="445185"/>
                </a:solidFill>
                <a:latin typeface="黑体" panose="02010609060101010101" charset="-122"/>
                <a:ea typeface="黑体" panose="02010609060101010101" charset="-122"/>
              </a:rPr>
              <a:t>侧开源已成为行业阶段性共识</a:t>
            </a:r>
          </a:p>
        </p:txBody>
      </p:sp>
      <p:sp>
        <p:nvSpPr>
          <p:cNvPr id="11" name="矩形: 圆角 10">
            <a:extLst>
              <a:ext uri="{FF2B5EF4-FFF2-40B4-BE49-F238E27FC236}">
                <a16:creationId xmlns:a16="http://schemas.microsoft.com/office/drawing/2014/main" id="{7CE189A1-5DBD-4DA0-AE81-A314FD338670}"/>
              </a:ext>
            </a:extLst>
          </p:cNvPr>
          <p:cNvSpPr/>
          <p:nvPr/>
        </p:nvSpPr>
        <p:spPr>
          <a:xfrm>
            <a:off x="1090833"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AI Infra</a:t>
            </a:r>
            <a:r>
              <a:rPr lang="zh-CN" altLang="en-US" b="1" dirty="0">
                <a:solidFill>
                  <a:schemeClr val="tx1"/>
                </a:solidFill>
              </a:rPr>
              <a:t>开源助力大模型发展</a:t>
            </a:r>
          </a:p>
        </p:txBody>
      </p:sp>
      <p:sp>
        <p:nvSpPr>
          <p:cNvPr id="12" name="文本框 11">
            <a:extLst>
              <a:ext uri="{FF2B5EF4-FFF2-40B4-BE49-F238E27FC236}">
                <a16:creationId xmlns:a16="http://schemas.microsoft.com/office/drawing/2014/main" id="{835C7D22-B05A-4019-BC43-8A139B191A18}"/>
              </a:ext>
            </a:extLst>
          </p:cNvPr>
          <p:cNvSpPr txBox="1"/>
          <p:nvPr/>
        </p:nvSpPr>
        <p:spPr>
          <a:xfrm>
            <a:off x="1035414" y="1782364"/>
            <a:ext cx="4903567" cy="1097352"/>
          </a:xfrm>
          <a:prstGeom prst="rect">
            <a:avLst/>
          </a:prstGeom>
          <a:noFill/>
        </p:spPr>
        <p:txBody>
          <a:bodyPr wrap="square" rtlCol="0">
            <a:spAutoFit/>
          </a:bodyPr>
          <a:lstStyle/>
          <a:p>
            <a:pPr marL="133350" algn="just"/>
            <a:r>
              <a:rPr lang="en-US" altLang="zh-CN" sz="1600" b="1" kern="1400" dirty="0">
                <a:solidFill>
                  <a:srgbClr val="2F2F2F"/>
                </a:solidFill>
                <a:latin typeface="微软雅黑" panose="020B0503020204020204" pitchFamily="34" charset="-122"/>
                <a:ea typeface="微软雅黑" panose="020B0503020204020204" pitchFamily="34" charset="-122"/>
              </a:rPr>
              <a:t>Infra</a:t>
            </a:r>
            <a:r>
              <a:rPr lang="zh-CN" altLang="en-US" sz="1600" b="1" kern="1400" dirty="0">
                <a:solidFill>
                  <a:srgbClr val="2F2F2F"/>
                </a:solidFill>
                <a:latin typeface="微软雅黑" panose="020B0503020204020204" pitchFamily="34" charset="-122"/>
                <a:ea typeface="微软雅黑" panose="020B0503020204020204" pitchFamily="34" charset="-122"/>
              </a:rPr>
              <a:t>层</a:t>
            </a:r>
            <a:r>
              <a:rPr lang="zh-CN" altLang="zh-CN" sz="1600" b="1" kern="1400" dirty="0">
                <a:solidFill>
                  <a:srgbClr val="2F2F2F"/>
                </a:solidFill>
                <a:latin typeface="微软雅黑" panose="020B0503020204020204" pitchFamily="34" charset="-122"/>
                <a:ea typeface="微软雅黑" panose="020B0503020204020204" pitchFamily="34" charset="-122"/>
              </a:rPr>
              <a:t>技术人员有限，</a:t>
            </a:r>
            <a:r>
              <a:rPr lang="zh-CN" altLang="en-US" sz="1600" b="1" kern="1400" dirty="0">
                <a:solidFill>
                  <a:srgbClr val="2F2F2F"/>
                </a:solidFill>
                <a:latin typeface="微软雅黑" panose="020B0503020204020204" pitchFamily="34" charset="-122"/>
                <a:ea typeface="微软雅黑" panose="020B0503020204020204" pitchFamily="34" charset="-122"/>
              </a:rPr>
              <a:t>开源才能让更多用户使用：</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marL="133350" algn="just">
              <a:lnSpc>
                <a:spcPct val="120000"/>
              </a:lnSpc>
            </a:pPr>
            <a:r>
              <a:rPr lang="en-US" altLang="zh-CN" sz="1400" dirty="0">
                <a:solidFill>
                  <a:srgbClr val="000000"/>
                </a:solidFill>
                <a:latin typeface="AAAAAH+NotoSansCJKsc-Light"/>
              </a:rPr>
              <a:t>Infra</a:t>
            </a:r>
            <a:r>
              <a:rPr lang="zh-CN" altLang="en-US" sz="1400" dirty="0">
                <a:solidFill>
                  <a:srgbClr val="000000"/>
                </a:solidFill>
                <a:latin typeface="AAAAAH+NotoSansCJKsc-Light"/>
              </a:rPr>
              <a:t>层的研发涉及底层架构，对开发人员的要求更高，中小企业面临人才缺乏的现状；而</a:t>
            </a:r>
            <a:r>
              <a:rPr lang="en-US" altLang="zh-CN" sz="1400" dirty="0">
                <a:solidFill>
                  <a:srgbClr val="000000"/>
                </a:solidFill>
                <a:latin typeface="AAAAAH+NotoSansCJKsc-Light"/>
              </a:rPr>
              <a:t>Infra</a:t>
            </a:r>
            <a:r>
              <a:rPr lang="zh-CN" altLang="en-US" sz="1400" dirty="0">
                <a:solidFill>
                  <a:srgbClr val="000000"/>
                </a:solidFill>
                <a:latin typeface="AAAAAH+NotoSansCJKsc-Light"/>
              </a:rPr>
              <a:t>开源则赋予中小厂商部署、调用大模型的能力，促进大模型的应用推广。</a:t>
            </a:r>
            <a:endParaRPr lang="zh-CN" altLang="zh-CN" sz="1400" dirty="0">
              <a:solidFill>
                <a:srgbClr val="000000"/>
              </a:solidFill>
              <a:latin typeface="AAAAAH+NotoSansCJKsc-Light"/>
            </a:endParaRPr>
          </a:p>
        </p:txBody>
      </p:sp>
      <p:sp>
        <p:nvSpPr>
          <p:cNvPr id="6" name="矩形: 圆角 5">
            <a:extLst>
              <a:ext uri="{FF2B5EF4-FFF2-40B4-BE49-F238E27FC236}">
                <a16:creationId xmlns:a16="http://schemas.microsoft.com/office/drawing/2014/main" id="{D150FC28-B8B3-406E-BBFA-B344E2F893E2}"/>
              </a:ext>
            </a:extLst>
          </p:cNvPr>
          <p:cNvSpPr/>
          <p:nvPr/>
        </p:nvSpPr>
        <p:spPr>
          <a:xfrm>
            <a:off x="1090831" y="4110265"/>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AI Infra</a:t>
            </a:r>
            <a:r>
              <a:rPr lang="zh-CN" altLang="en-US" b="1" dirty="0">
                <a:solidFill>
                  <a:schemeClr val="tx1"/>
                </a:solidFill>
              </a:rPr>
              <a:t>开源项目进入商业化探索阶段</a:t>
            </a:r>
          </a:p>
        </p:txBody>
      </p:sp>
      <p:sp>
        <p:nvSpPr>
          <p:cNvPr id="10" name="文本框 9">
            <a:extLst>
              <a:ext uri="{FF2B5EF4-FFF2-40B4-BE49-F238E27FC236}">
                <a16:creationId xmlns:a16="http://schemas.microsoft.com/office/drawing/2014/main" id="{FB45DF16-20CB-49F7-A38F-650D30CC6325}"/>
              </a:ext>
            </a:extLst>
          </p:cNvPr>
          <p:cNvSpPr txBox="1"/>
          <p:nvPr/>
        </p:nvSpPr>
        <p:spPr>
          <a:xfrm>
            <a:off x="1211375" y="2879716"/>
            <a:ext cx="4386332" cy="1146148"/>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隐私保护，私有化部署的需要：</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a:lnSpc>
                <a:spcPct val="120000"/>
              </a:lnSpc>
            </a:pPr>
            <a:r>
              <a:rPr lang="zh-CN" altLang="en-US" sz="1400" dirty="0">
                <a:solidFill>
                  <a:srgbClr val="000000"/>
                </a:solidFill>
                <a:latin typeface="AAAAAH+NotoSansCJKsc-Light"/>
              </a:rPr>
              <a:t>出于隐私保护的需求，很多企业更倾向于私有化部署大模型，而开源</a:t>
            </a:r>
            <a:r>
              <a:rPr lang="en-US" altLang="zh-CN" sz="1400" dirty="0">
                <a:solidFill>
                  <a:srgbClr val="000000"/>
                </a:solidFill>
                <a:latin typeface="AAAAAH+NotoSansCJKsc-Light"/>
              </a:rPr>
              <a:t>Infra</a:t>
            </a:r>
            <a:r>
              <a:rPr lang="zh-CN" altLang="en-US" sz="1400" dirty="0">
                <a:solidFill>
                  <a:srgbClr val="000000"/>
                </a:solidFill>
                <a:latin typeface="AAAAAH+NotoSansCJKsc-Light"/>
              </a:rPr>
              <a:t>为此提供了机会，使得用户不需要将数据联通到</a:t>
            </a:r>
            <a:r>
              <a:rPr lang="en-US" altLang="zh-CN" sz="1400" dirty="0">
                <a:solidFill>
                  <a:srgbClr val="000000"/>
                </a:solidFill>
                <a:latin typeface="AAAAAH+NotoSansCJKsc-Light"/>
              </a:rPr>
              <a:t>Infra</a:t>
            </a:r>
            <a:r>
              <a:rPr lang="zh-CN" altLang="en-US" sz="1400" dirty="0">
                <a:solidFill>
                  <a:srgbClr val="000000"/>
                </a:solidFill>
                <a:latin typeface="AAAAAH+NotoSansCJKsc-Light"/>
              </a:rPr>
              <a:t>厂商，而直接本地化存储</a:t>
            </a:r>
            <a:endParaRPr lang="en-US" altLang="zh-CN" sz="1400" dirty="0">
              <a:solidFill>
                <a:srgbClr val="000000"/>
              </a:solidFill>
              <a:latin typeface="AAAAAH+NotoSansCJKsc-Light"/>
            </a:endParaRPr>
          </a:p>
        </p:txBody>
      </p:sp>
      <p:sp>
        <p:nvSpPr>
          <p:cNvPr id="14" name="文本框 13">
            <a:extLst>
              <a:ext uri="{FF2B5EF4-FFF2-40B4-BE49-F238E27FC236}">
                <a16:creationId xmlns:a16="http://schemas.microsoft.com/office/drawing/2014/main" id="{687D1068-F2FB-43F8-A81E-438EAD4C2C34}"/>
              </a:ext>
            </a:extLst>
          </p:cNvPr>
          <p:cNvSpPr txBox="1"/>
          <p:nvPr/>
        </p:nvSpPr>
        <p:spPr>
          <a:xfrm>
            <a:off x="1211375" y="4619479"/>
            <a:ext cx="3728488" cy="1146596"/>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基于用户使用的资源付费</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a:lnSpc>
                <a:spcPct val="120000"/>
              </a:lnSpc>
            </a:pPr>
            <a:r>
              <a:rPr lang="en-US" altLang="zh-CN" sz="1400" dirty="0">
                <a:solidFill>
                  <a:srgbClr val="000000"/>
                </a:solidFill>
                <a:latin typeface="AAAAAH+NotoSansCJKsc-Light"/>
              </a:rPr>
              <a:t>Hugging Face</a:t>
            </a:r>
            <a:r>
              <a:rPr lang="zh-CN" altLang="en-US" sz="1400" dirty="0">
                <a:solidFill>
                  <a:srgbClr val="000000"/>
                </a:solidFill>
                <a:latin typeface="AAAAAH+NotoSansCJKsc-Light"/>
              </a:rPr>
              <a:t>提供</a:t>
            </a:r>
            <a:r>
              <a:rPr lang="en-US" altLang="zh-CN" sz="1400" dirty="0" err="1">
                <a:solidFill>
                  <a:srgbClr val="000000"/>
                </a:solidFill>
                <a:latin typeface="AAAAAH+NotoSansCJKsc-Light"/>
              </a:rPr>
              <a:t>AutoTrain</a:t>
            </a:r>
            <a:r>
              <a:rPr lang="en-US" altLang="zh-CN" sz="1400" dirty="0">
                <a:solidFill>
                  <a:srgbClr val="000000"/>
                </a:solidFill>
                <a:latin typeface="AAAAAH+NotoSansCJKsc-Light"/>
              </a:rPr>
              <a:t> (</a:t>
            </a:r>
            <a:r>
              <a:rPr lang="zh-CN" altLang="en-US" sz="1400" dirty="0">
                <a:solidFill>
                  <a:srgbClr val="000000"/>
                </a:solidFill>
                <a:latin typeface="AAAAAH+NotoSansCJKsc-Light"/>
              </a:rPr>
              <a:t>系统自动选择模型并训练</a:t>
            </a:r>
            <a:r>
              <a:rPr lang="en-US" altLang="zh-CN" sz="1400" dirty="0">
                <a:solidFill>
                  <a:srgbClr val="000000"/>
                </a:solidFill>
                <a:latin typeface="AAAAAH+NotoSansCJKsc-Light"/>
              </a:rPr>
              <a:t>)</a:t>
            </a:r>
            <a:r>
              <a:rPr lang="zh-CN" altLang="en-US" sz="1400" dirty="0">
                <a:solidFill>
                  <a:srgbClr val="000000"/>
                </a:solidFill>
                <a:latin typeface="AAAAAH+NotoSansCJKsc-Light"/>
              </a:rPr>
              <a:t>、应用测试、模型推理功能，根据使用的硬件资源收费</a:t>
            </a:r>
            <a:endParaRPr lang="en-US" altLang="zh-CN" sz="1400" dirty="0">
              <a:solidFill>
                <a:srgbClr val="000000"/>
              </a:solidFill>
              <a:latin typeface="AAAAAH+NotoSansCJKsc-Light"/>
            </a:endParaRPr>
          </a:p>
        </p:txBody>
      </p:sp>
      <p:grpSp>
        <p:nvGrpSpPr>
          <p:cNvPr id="7" name="组合 6">
            <a:extLst>
              <a:ext uri="{FF2B5EF4-FFF2-40B4-BE49-F238E27FC236}">
                <a16:creationId xmlns:a16="http://schemas.microsoft.com/office/drawing/2014/main" id="{053E3912-6119-4F73-B8C1-C0DDDD2D1DB5}"/>
              </a:ext>
            </a:extLst>
          </p:cNvPr>
          <p:cNvGrpSpPr/>
          <p:nvPr/>
        </p:nvGrpSpPr>
        <p:grpSpPr>
          <a:xfrm>
            <a:off x="2583896" y="5563992"/>
            <a:ext cx="1463361" cy="700816"/>
            <a:chOff x="2189112" y="3888508"/>
            <a:chExt cx="2599380" cy="1244866"/>
          </a:xfrm>
        </p:grpSpPr>
        <p:pic>
          <p:nvPicPr>
            <p:cNvPr id="1026" name="Picture 2">
              <a:extLst>
                <a:ext uri="{FF2B5EF4-FFF2-40B4-BE49-F238E27FC236}">
                  <a16:creationId xmlns:a16="http://schemas.microsoft.com/office/drawing/2014/main" id="{604DE8D5-3106-4575-AD9B-2E2283A728FB}"/>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1272" t="20839" r="26348" b="37273"/>
            <a:stretch/>
          </p:blipFill>
          <p:spPr bwMode="auto">
            <a:xfrm>
              <a:off x="2189112" y="3888508"/>
              <a:ext cx="2599380" cy="92363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7A100A9F-7998-4750-BB81-4081947B2661}"/>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1272" t="68786" r="26348" b="14236"/>
            <a:stretch/>
          </p:blipFill>
          <p:spPr bwMode="auto">
            <a:xfrm>
              <a:off x="2189112" y="4758991"/>
              <a:ext cx="2599380" cy="374383"/>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文本框 21">
            <a:extLst>
              <a:ext uri="{FF2B5EF4-FFF2-40B4-BE49-F238E27FC236}">
                <a16:creationId xmlns:a16="http://schemas.microsoft.com/office/drawing/2014/main" id="{EE2C53E9-2AF6-42A3-B2D9-F985260D7035}"/>
              </a:ext>
            </a:extLst>
          </p:cNvPr>
          <p:cNvSpPr txBox="1"/>
          <p:nvPr/>
        </p:nvSpPr>
        <p:spPr>
          <a:xfrm>
            <a:off x="8573419" y="4619479"/>
            <a:ext cx="3283998" cy="629083"/>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月度、年度订阅模式</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a:lnSpc>
                <a:spcPct val="120000"/>
              </a:lnSpc>
            </a:pPr>
            <a:r>
              <a:rPr lang="zh-CN" altLang="en-US" sz="1400" dirty="0">
                <a:solidFill>
                  <a:srgbClr val="000000"/>
                </a:solidFill>
                <a:latin typeface="AAAAAH+NotoSansCJKsc-Light"/>
              </a:rPr>
              <a:t>典型的订阅制度</a:t>
            </a:r>
            <a:endParaRPr lang="en-US" altLang="zh-CN" sz="1400" dirty="0">
              <a:solidFill>
                <a:srgbClr val="000000"/>
              </a:solidFill>
              <a:latin typeface="AAAAAH+NotoSansCJKsc-Light"/>
            </a:endParaRPr>
          </a:p>
        </p:txBody>
      </p:sp>
      <p:pic>
        <p:nvPicPr>
          <p:cNvPr id="9" name="图片 8">
            <a:extLst>
              <a:ext uri="{FF2B5EF4-FFF2-40B4-BE49-F238E27FC236}">
                <a16:creationId xmlns:a16="http://schemas.microsoft.com/office/drawing/2014/main" id="{6E626ACE-8528-4480-BBA7-56AFDAB28350}"/>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97707" y="5492337"/>
            <a:ext cx="1754835" cy="591630"/>
          </a:xfrm>
          <a:prstGeom prst="rect">
            <a:avLst/>
          </a:prstGeom>
        </p:spPr>
      </p:pic>
      <p:sp>
        <p:nvSpPr>
          <p:cNvPr id="27" name="文本框 26">
            <a:extLst>
              <a:ext uri="{FF2B5EF4-FFF2-40B4-BE49-F238E27FC236}">
                <a16:creationId xmlns:a16="http://schemas.microsoft.com/office/drawing/2014/main" id="{671244C9-737C-49D8-B461-DCBB9F68DCCD}"/>
              </a:ext>
            </a:extLst>
          </p:cNvPr>
          <p:cNvSpPr txBox="1"/>
          <p:nvPr/>
        </p:nvSpPr>
        <p:spPr>
          <a:xfrm>
            <a:off x="5154535" y="4625561"/>
            <a:ext cx="3283997" cy="887615"/>
          </a:xfrm>
          <a:prstGeom prst="rect">
            <a:avLst/>
          </a:prstGeom>
          <a:noFill/>
        </p:spPr>
        <p:txBody>
          <a:bodyPr wrap="square" rtlCol="0">
            <a:spAutoFit/>
          </a:bodyPr>
          <a:lstStyle/>
          <a:p>
            <a:pPr>
              <a:lnSpc>
                <a:spcPct val="120000"/>
              </a:lnSpc>
            </a:pPr>
            <a:r>
              <a:rPr lang="zh-CN" altLang="en-US" sz="1600" b="1" kern="1400" dirty="0">
                <a:solidFill>
                  <a:srgbClr val="2F2F2F"/>
                </a:solidFill>
                <a:latin typeface="微软雅黑" panose="020B0503020204020204" pitchFamily="34" charset="-122"/>
                <a:ea typeface="微软雅黑" panose="020B0503020204020204" pitchFamily="34" charset="-122"/>
              </a:rPr>
              <a:t>按数据使用量收费</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a:lnSpc>
                <a:spcPct val="120000"/>
              </a:lnSpc>
            </a:pPr>
            <a:r>
              <a:rPr lang="zh-CN" altLang="en-US" sz="1400" dirty="0">
                <a:solidFill>
                  <a:srgbClr val="000000"/>
                </a:solidFill>
                <a:latin typeface="AAAAAH+NotoSansCJKsc-Light"/>
              </a:rPr>
              <a:t>根据计算、存储所实际需要的使用量收费，与用户实际的数据量相关</a:t>
            </a:r>
            <a:endParaRPr lang="en-US" altLang="zh-CN" sz="1400" dirty="0">
              <a:solidFill>
                <a:srgbClr val="000000"/>
              </a:solidFill>
              <a:latin typeface="AAAAAH+NotoSansCJKsc-Light"/>
            </a:endParaRPr>
          </a:p>
        </p:txBody>
      </p:sp>
      <p:sp>
        <p:nvSpPr>
          <p:cNvPr id="5" name="灯片编号占位符 4">
            <a:extLst>
              <a:ext uri="{FF2B5EF4-FFF2-40B4-BE49-F238E27FC236}">
                <a16:creationId xmlns:a16="http://schemas.microsoft.com/office/drawing/2014/main" id="{B7A03241-5899-4977-A611-085D35201B48}"/>
              </a:ext>
            </a:extLst>
          </p:cNvPr>
          <p:cNvSpPr>
            <a:spLocks noGrp="1"/>
          </p:cNvSpPr>
          <p:nvPr>
            <p:ph type="sldNum" sz="quarter" idx="12"/>
          </p:nvPr>
        </p:nvSpPr>
        <p:spPr/>
        <p:txBody>
          <a:bodyPr/>
          <a:lstStyle/>
          <a:p>
            <a:fld id="{65703A48-C316-4AA3-8E4E-4433376E065D}" type="slidenum">
              <a:rPr lang="zh-CN" altLang="en-US" smtClean="0"/>
              <a:t>11</a:t>
            </a:fld>
            <a:endParaRPr lang="zh-CN" altLang="en-US"/>
          </a:p>
        </p:txBody>
      </p:sp>
      <p:pic>
        <p:nvPicPr>
          <p:cNvPr id="8" name="图片 7">
            <a:extLst>
              <a:ext uri="{FF2B5EF4-FFF2-40B4-BE49-F238E27FC236}">
                <a16:creationId xmlns:a16="http://schemas.microsoft.com/office/drawing/2014/main" id="{FBDE207C-3D05-4859-8C9F-68F197E2CD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1302" y="1407839"/>
            <a:ext cx="6139474" cy="3155008"/>
          </a:xfrm>
          <a:prstGeom prst="rect">
            <a:avLst/>
          </a:prstGeom>
        </p:spPr>
      </p:pic>
      <p:pic>
        <p:nvPicPr>
          <p:cNvPr id="2" name="图片 1">
            <a:extLst>
              <a:ext uri="{FF2B5EF4-FFF2-40B4-BE49-F238E27FC236}">
                <a16:creationId xmlns:a16="http://schemas.microsoft.com/office/drawing/2014/main" id="{C615E9B3-24AD-CF45-A5DB-5D4D62164411}"/>
              </a:ext>
            </a:extLst>
          </p:cNvPr>
          <p:cNvPicPr>
            <a:picLocks noChangeAspect="1"/>
          </p:cNvPicPr>
          <p:nvPr/>
        </p:nvPicPr>
        <p:blipFill>
          <a:blip r:embed="rId6"/>
          <a:stretch>
            <a:fillRect/>
          </a:stretch>
        </p:blipFill>
        <p:spPr>
          <a:xfrm>
            <a:off x="9608104" y="5554413"/>
            <a:ext cx="1608631" cy="423324"/>
          </a:xfrm>
          <a:prstGeom prst="rect">
            <a:avLst/>
          </a:prstGeom>
        </p:spPr>
      </p:pic>
    </p:spTree>
    <p:extLst>
      <p:ext uri="{BB962C8B-B14F-4D97-AF65-F5344CB8AC3E}">
        <p14:creationId xmlns:p14="http://schemas.microsoft.com/office/powerpoint/2010/main" val="827551312"/>
      </p:ext>
    </p:extLst>
  </p:cSld>
  <p:clrMapOvr>
    <a:masterClrMapping/>
  </p:clrMapOvr>
  <p:transition spd="slow">
    <p:randomBa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979997" y="4191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900" i="1" dirty="0">
                <a:solidFill>
                  <a:srgbClr val="445185"/>
                </a:solidFill>
                <a:latin typeface="黑体" panose="02010609060101010101" charset="-122"/>
                <a:ea typeface="黑体" panose="02010609060101010101" charset="-122"/>
              </a:rPr>
              <a:t>AI</a:t>
            </a:r>
            <a:r>
              <a:rPr lang="zh-CN" altLang="en-US" sz="2900" i="1" dirty="0">
                <a:solidFill>
                  <a:srgbClr val="445185"/>
                </a:solidFill>
                <a:latin typeface="黑体" panose="02010609060101010101" charset="-122"/>
                <a:ea typeface="黑体" panose="02010609060101010101" charset="-122"/>
              </a:rPr>
              <a:t>应用层开源项目百花齐放</a:t>
            </a:r>
          </a:p>
        </p:txBody>
      </p:sp>
      <p:sp>
        <p:nvSpPr>
          <p:cNvPr id="6" name="矩形: 圆角 5">
            <a:extLst>
              <a:ext uri="{FF2B5EF4-FFF2-40B4-BE49-F238E27FC236}">
                <a16:creationId xmlns:a16="http://schemas.microsoft.com/office/drawing/2014/main" id="{2858D1D1-4154-477D-B867-B124D1AA3F96}"/>
              </a:ext>
            </a:extLst>
          </p:cNvPr>
          <p:cNvSpPr/>
          <p:nvPr/>
        </p:nvSpPr>
        <p:spPr>
          <a:xfrm>
            <a:off x="3872134" y="1995612"/>
            <a:ext cx="2347692" cy="45258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多模态</a:t>
            </a:r>
          </a:p>
        </p:txBody>
      </p:sp>
      <p:sp>
        <p:nvSpPr>
          <p:cNvPr id="8" name="矩形: 圆角 7">
            <a:extLst>
              <a:ext uri="{FF2B5EF4-FFF2-40B4-BE49-F238E27FC236}">
                <a16:creationId xmlns:a16="http://schemas.microsoft.com/office/drawing/2014/main" id="{A041DAAA-B276-4A1F-9F7F-9C70058E25D8}"/>
              </a:ext>
            </a:extLst>
          </p:cNvPr>
          <p:cNvSpPr/>
          <p:nvPr/>
        </p:nvSpPr>
        <p:spPr>
          <a:xfrm>
            <a:off x="6539134" y="1995612"/>
            <a:ext cx="2347692" cy="45258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AI</a:t>
            </a:r>
            <a:r>
              <a:rPr lang="zh-CN" altLang="en-US" b="1" dirty="0">
                <a:solidFill>
                  <a:schemeClr val="bg1"/>
                </a:solidFill>
              </a:rPr>
              <a:t> </a:t>
            </a:r>
            <a:r>
              <a:rPr lang="en-US" altLang="zh-CN" b="1" dirty="0">
                <a:solidFill>
                  <a:schemeClr val="bg1"/>
                </a:solidFill>
              </a:rPr>
              <a:t>Agent</a:t>
            </a:r>
          </a:p>
        </p:txBody>
      </p:sp>
      <p:sp>
        <p:nvSpPr>
          <p:cNvPr id="11" name="矩形: 圆角 10">
            <a:extLst>
              <a:ext uri="{FF2B5EF4-FFF2-40B4-BE49-F238E27FC236}">
                <a16:creationId xmlns:a16="http://schemas.microsoft.com/office/drawing/2014/main" id="{2F598E46-B09E-45C8-A9FC-AB105C33120C}"/>
              </a:ext>
            </a:extLst>
          </p:cNvPr>
          <p:cNvSpPr/>
          <p:nvPr/>
        </p:nvSpPr>
        <p:spPr>
          <a:xfrm>
            <a:off x="9152409" y="1995612"/>
            <a:ext cx="2347692" cy="45258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辅助编程</a:t>
            </a:r>
            <a:endParaRPr lang="en-US" altLang="zh-CN" b="1" dirty="0">
              <a:solidFill>
                <a:schemeClr val="bg1"/>
              </a:solidFill>
            </a:endParaRPr>
          </a:p>
        </p:txBody>
      </p:sp>
      <p:sp>
        <p:nvSpPr>
          <p:cNvPr id="13" name="矩形: 圆角 12">
            <a:extLst>
              <a:ext uri="{FF2B5EF4-FFF2-40B4-BE49-F238E27FC236}">
                <a16:creationId xmlns:a16="http://schemas.microsoft.com/office/drawing/2014/main" id="{4669567E-3737-4D2C-81D0-276055E9C273}"/>
              </a:ext>
            </a:extLst>
          </p:cNvPr>
          <p:cNvSpPr/>
          <p:nvPr/>
        </p:nvSpPr>
        <p:spPr>
          <a:xfrm>
            <a:off x="9202191" y="4291856"/>
            <a:ext cx="2347692" cy="45258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法律</a:t>
            </a:r>
            <a:endParaRPr lang="en-US" altLang="zh-CN" b="1" dirty="0">
              <a:solidFill>
                <a:schemeClr val="tx1"/>
              </a:solidFill>
            </a:endParaRPr>
          </a:p>
        </p:txBody>
      </p:sp>
      <p:sp>
        <p:nvSpPr>
          <p:cNvPr id="15" name="矩形: 圆角 14">
            <a:extLst>
              <a:ext uri="{FF2B5EF4-FFF2-40B4-BE49-F238E27FC236}">
                <a16:creationId xmlns:a16="http://schemas.microsoft.com/office/drawing/2014/main" id="{FC6D0F8A-072D-4EE1-8732-3BB5D9B244AA}"/>
              </a:ext>
            </a:extLst>
          </p:cNvPr>
          <p:cNvSpPr/>
          <p:nvPr/>
        </p:nvSpPr>
        <p:spPr>
          <a:xfrm>
            <a:off x="1186083" y="4286859"/>
            <a:ext cx="2347692" cy="45258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医疗</a:t>
            </a:r>
          </a:p>
        </p:txBody>
      </p:sp>
      <p:sp>
        <p:nvSpPr>
          <p:cNvPr id="16" name="矩形: 圆角 15">
            <a:extLst>
              <a:ext uri="{FF2B5EF4-FFF2-40B4-BE49-F238E27FC236}">
                <a16:creationId xmlns:a16="http://schemas.microsoft.com/office/drawing/2014/main" id="{12101E66-0365-45D6-988E-57615E5DCDEA}"/>
              </a:ext>
            </a:extLst>
          </p:cNvPr>
          <p:cNvSpPr/>
          <p:nvPr/>
        </p:nvSpPr>
        <p:spPr>
          <a:xfrm>
            <a:off x="3872134" y="4286859"/>
            <a:ext cx="2347692" cy="45258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教育</a:t>
            </a:r>
          </a:p>
        </p:txBody>
      </p:sp>
      <p:sp>
        <p:nvSpPr>
          <p:cNvPr id="18" name="文本框 17">
            <a:extLst>
              <a:ext uri="{FF2B5EF4-FFF2-40B4-BE49-F238E27FC236}">
                <a16:creationId xmlns:a16="http://schemas.microsoft.com/office/drawing/2014/main" id="{3FD6557F-6748-4E5B-A083-1700FDBFF351}"/>
              </a:ext>
            </a:extLst>
          </p:cNvPr>
          <p:cNvSpPr txBox="1"/>
          <p:nvPr/>
        </p:nvSpPr>
        <p:spPr>
          <a:xfrm>
            <a:off x="979997" y="1218722"/>
            <a:ext cx="10569886" cy="646331"/>
          </a:xfrm>
          <a:prstGeom prst="rect">
            <a:avLst/>
          </a:prstGeom>
          <a:noFill/>
        </p:spPr>
        <p:txBody>
          <a:bodyPr wrap="square" rtlCol="0">
            <a:spAutoFit/>
          </a:bodyPr>
          <a:lstStyle/>
          <a:p>
            <a:r>
              <a:rPr lang="zh-CN" altLang="en-US" b="0" i="0" dirty="0">
                <a:solidFill>
                  <a:srgbClr val="222222"/>
                </a:solidFill>
                <a:effectLst/>
                <a:latin typeface="arial" panose="020B0604020202020204" pitchFamily="34" charset="0"/>
              </a:rPr>
              <a:t>现阶段，大模型较为易得、调用成本较低，下游需求明确、未来增量空间可观，应用厂商已经积极拥抱</a:t>
            </a:r>
            <a:r>
              <a:rPr lang="en-US" altLang="zh-CN" b="0" i="0" dirty="0">
                <a:solidFill>
                  <a:srgbClr val="222222"/>
                </a:solidFill>
                <a:effectLst/>
                <a:latin typeface="arial" panose="020B0604020202020204" pitchFamily="34" charset="0"/>
              </a:rPr>
              <a:t>AI</a:t>
            </a:r>
            <a:r>
              <a:rPr lang="zh-CN" altLang="en-US" b="0" i="0" dirty="0">
                <a:solidFill>
                  <a:srgbClr val="222222"/>
                </a:solidFill>
                <a:effectLst/>
                <a:latin typeface="arial" panose="020B0604020202020204" pitchFamily="34" charset="0"/>
              </a:rPr>
              <a:t>，</a:t>
            </a:r>
            <a:r>
              <a:rPr lang="en-US" altLang="zh-CN" b="0" i="0" dirty="0">
                <a:solidFill>
                  <a:srgbClr val="222222"/>
                </a:solidFill>
                <a:effectLst/>
                <a:latin typeface="arial" panose="020B0604020202020204" pitchFamily="34" charset="0"/>
              </a:rPr>
              <a:t>AI</a:t>
            </a:r>
            <a:r>
              <a:rPr lang="zh-CN" altLang="en-US" b="0" i="0" dirty="0">
                <a:solidFill>
                  <a:srgbClr val="222222"/>
                </a:solidFill>
                <a:effectLst/>
                <a:latin typeface="arial" panose="020B0604020202020204" pitchFamily="34" charset="0"/>
              </a:rPr>
              <a:t>应用层有望走向“百花齐放”。</a:t>
            </a:r>
            <a:endParaRPr lang="zh-CN" altLang="en-US" dirty="0"/>
          </a:p>
        </p:txBody>
      </p:sp>
      <p:sp>
        <p:nvSpPr>
          <p:cNvPr id="19" name="文本框 18">
            <a:extLst>
              <a:ext uri="{FF2B5EF4-FFF2-40B4-BE49-F238E27FC236}">
                <a16:creationId xmlns:a16="http://schemas.microsoft.com/office/drawing/2014/main" id="{9E5E3023-09C2-4760-B56F-5C73B58726FA}"/>
              </a:ext>
            </a:extLst>
          </p:cNvPr>
          <p:cNvSpPr txBox="1"/>
          <p:nvPr/>
        </p:nvSpPr>
        <p:spPr>
          <a:xfrm>
            <a:off x="1090834" y="6438899"/>
            <a:ext cx="3429000" cy="307777"/>
          </a:xfrm>
          <a:prstGeom prst="rect">
            <a:avLst/>
          </a:prstGeom>
          <a:noFill/>
        </p:spPr>
        <p:txBody>
          <a:bodyPr wrap="square" rtlCol="0">
            <a:spAutoFit/>
          </a:bodyPr>
          <a:lstStyle/>
          <a:p>
            <a:r>
              <a:rPr lang="zh-CN" altLang="en-US" sz="1400" dirty="0"/>
              <a:t>信息来源：互联网资料收集</a:t>
            </a:r>
          </a:p>
        </p:txBody>
      </p:sp>
      <p:sp>
        <p:nvSpPr>
          <p:cNvPr id="20" name="灯片编号占位符 19">
            <a:extLst>
              <a:ext uri="{FF2B5EF4-FFF2-40B4-BE49-F238E27FC236}">
                <a16:creationId xmlns:a16="http://schemas.microsoft.com/office/drawing/2014/main" id="{D466DD81-9D31-419B-A7FE-6EF921AE64B9}"/>
              </a:ext>
            </a:extLst>
          </p:cNvPr>
          <p:cNvSpPr>
            <a:spLocks noGrp="1"/>
          </p:cNvSpPr>
          <p:nvPr>
            <p:ph type="sldNum" sz="quarter" idx="12"/>
          </p:nvPr>
        </p:nvSpPr>
        <p:spPr/>
        <p:txBody>
          <a:bodyPr/>
          <a:lstStyle/>
          <a:p>
            <a:fld id="{65703A48-C316-4AA3-8E4E-4433376E065D}" type="slidenum">
              <a:rPr lang="zh-CN" altLang="en-US" smtClean="0"/>
              <a:t>12</a:t>
            </a:fld>
            <a:endParaRPr lang="zh-CN" altLang="en-US"/>
          </a:p>
        </p:txBody>
      </p:sp>
      <p:sp>
        <p:nvSpPr>
          <p:cNvPr id="21" name="矩形: 圆角 20">
            <a:extLst>
              <a:ext uri="{FF2B5EF4-FFF2-40B4-BE49-F238E27FC236}">
                <a16:creationId xmlns:a16="http://schemas.microsoft.com/office/drawing/2014/main" id="{2A5AB93A-1940-4089-A57E-3DE7480F8FEB}"/>
              </a:ext>
            </a:extLst>
          </p:cNvPr>
          <p:cNvSpPr/>
          <p:nvPr/>
        </p:nvSpPr>
        <p:spPr>
          <a:xfrm>
            <a:off x="6598256" y="4286859"/>
            <a:ext cx="2347692" cy="45258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金融</a:t>
            </a:r>
          </a:p>
        </p:txBody>
      </p:sp>
      <p:sp>
        <p:nvSpPr>
          <p:cNvPr id="24" name="矩形: 圆角 23">
            <a:extLst>
              <a:ext uri="{FF2B5EF4-FFF2-40B4-BE49-F238E27FC236}">
                <a16:creationId xmlns:a16="http://schemas.microsoft.com/office/drawing/2014/main" id="{07987950-D79E-4D66-A5DB-27CAE18EA8D9}"/>
              </a:ext>
            </a:extLst>
          </p:cNvPr>
          <p:cNvSpPr/>
          <p:nvPr/>
        </p:nvSpPr>
        <p:spPr>
          <a:xfrm>
            <a:off x="1186083" y="1995612"/>
            <a:ext cx="2347692" cy="45258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文生图</a:t>
            </a:r>
            <a:endParaRPr lang="en-US" altLang="zh-CN" b="1" dirty="0">
              <a:solidFill>
                <a:schemeClr val="bg1"/>
              </a:solidFill>
            </a:endParaRPr>
          </a:p>
        </p:txBody>
      </p:sp>
      <p:pic>
        <p:nvPicPr>
          <p:cNvPr id="2" name="Picture 2" descr="Stability AI Releases StableStudio, the Open Source Future of DreamStudio —  Stability AI">
            <a:extLst>
              <a:ext uri="{FF2B5EF4-FFF2-40B4-BE49-F238E27FC236}">
                <a16:creationId xmlns:a16="http://schemas.microsoft.com/office/drawing/2014/main" id="{565B628A-4114-4BDB-AD19-877D544DFAA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917" t="7105" r="2638" b="5682"/>
          <a:stretch/>
        </p:blipFill>
        <p:spPr bwMode="auto">
          <a:xfrm>
            <a:off x="1352706" y="2486611"/>
            <a:ext cx="2010255" cy="773468"/>
          </a:xfrm>
          <a:prstGeom prst="rect">
            <a:avLst/>
          </a:prstGeom>
          <a:noFill/>
          <a:extLst>
            <a:ext uri="{909E8E84-426E-40DD-AFC4-6F175D3DCCD1}">
              <a14:hiddenFill xmlns:a14="http://schemas.microsoft.com/office/drawing/2010/main">
                <a:solidFill>
                  <a:srgbClr val="FFFFFF"/>
                </a:solidFill>
              </a14:hiddenFill>
            </a:ext>
          </a:extLst>
        </p:spPr>
      </p:pic>
      <p:pic>
        <p:nvPicPr>
          <p:cNvPr id="26" name="图片 25">
            <a:extLst>
              <a:ext uri="{FF2B5EF4-FFF2-40B4-BE49-F238E27FC236}">
                <a16:creationId xmlns:a16="http://schemas.microsoft.com/office/drawing/2014/main" id="{91620E87-0B9C-4C5E-9083-F1E049B556A1}"/>
              </a:ext>
            </a:extLst>
          </p:cNvPr>
          <p:cNvPicPr>
            <a:picLocks noChangeAspect="1"/>
          </p:cNvPicPr>
          <p:nvPr/>
        </p:nvPicPr>
        <p:blipFill rotWithShape="1">
          <a:blip r:embed="rId3"/>
          <a:srcRect l="27583" t="30297" r="27583" b="27633"/>
          <a:stretch/>
        </p:blipFill>
        <p:spPr>
          <a:xfrm>
            <a:off x="1352706" y="3310616"/>
            <a:ext cx="2008949" cy="862064"/>
          </a:xfrm>
          <a:prstGeom prst="rect">
            <a:avLst/>
          </a:prstGeom>
        </p:spPr>
      </p:pic>
      <p:pic>
        <p:nvPicPr>
          <p:cNvPr id="27" name="图片 26">
            <a:extLst>
              <a:ext uri="{FF2B5EF4-FFF2-40B4-BE49-F238E27FC236}">
                <a16:creationId xmlns:a16="http://schemas.microsoft.com/office/drawing/2014/main" id="{53EAC720-41BF-4F11-816A-4F3BA6F7E7C8}"/>
              </a:ext>
            </a:extLst>
          </p:cNvPr>
          <p:cNvPicPr>
            <a:picLocks noChangeAspect="1"/>
          </p:cNvPicPr>
          <p:nvPr/>
        </p:nvPicPr>
        <p:blipFill rotWithShape="1">
          <a:blip r:embed="rId4"/>
          <a:srcRect l="27584" t="34732" r="28000" b="29477"/>
          <a:stretch/>
        </p:blipFill>
        <p:spPr>
          <a:xfrm>
            <a:off x="4157772" y="2488970"/>
            <a:ext cx="1776415" cy="772964"/>
          </a:xfrm>
          <a:prstGeom prst="rect">
            <a:avLst/>
          </a:prstGeom>
        </p:spPr>
      </p:pic>
      <p:pic>
        <p:nvPicPr>
          <p:cNvPr id="28" name="图片 27">
            <a:extLst>
              <a:ext uri="{FF2B5EF4-FFF2-40B4-BE49-F238E27FC236}">
                <a16:creationId xmlns:a16="http://schemas.microsoft.com/office/drawing/2014/main" id="{9212B49B-FA33-42BB-BCAD-B4658D3ED40E}"/>
              </a:ext>
            </a:extLst>
          </p:cNvPr>
          <p:cNvPicPr>
            <a:picLocks noChangeAspect="1"/>
          </p:cNvPicPr>
          <p:nvPr/>
        </p:nvPicPr>
        <p:blipFill rotWithShape="1">
          <a:blip r:embed="rId5"/>
          <a:srcRect l="15001" t="38234" r="14271" b="40694"/>
          <a:stretch/>
        </p:blipFill>
        <p:spPr>
          <a:xfrm>
            <a:off x="3872134" y="3302710"/>
            <a:ext cx="2347692" cy="465835"/>
          </a:xfrm>
          <a:prstGeom prst="rect">
            <a:avLst/>
          </a:prstGeom>
        </p:spPr>
      </p:pic>
      <p:pic>
        <p:nvPicPr>
          <p:cNvPr id="2052" name="Picture 4" descr="GitHub - openai/shap-e: Generate 3D objects conditioned on text or images">
            <a:extLst>
              <a:ext uri="{FF2B5EF4-FFF2-40B4-BE49-F238E27FC236}">
                <a16:creationId xmlns:a16="http://schemas.microsoft.com/office/drawing/2014/main" id="{D7B83B85-1A9D-40BF-85A9-EC1971AF0002}"/>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5241" t="14484" r="44400" b="67655"/>
          <a:stretch/>
        </p:blipFill>
        <p:spPr bwMode="auto">
          <a:xfrm>
            <a:off x="3819949" y="3768442"/>
            <a:ext cx="2452060" cy="434822"/>
          </a:xfrm>
          <a:prstGeom prst="rect">
            <a:avLst/>
          </a:prstGeom>
          <a:noFill/>
          <a:extLst>
            <a:ext uri="{909E8E84-426E-40DD-AFC4-6F175D3DCCD1}">
              <a14:hiddenFill xmlns:a14="http://schemas.microsoft.com/office/drawing/2010/main">
                <a:solidFill>
                  <a:srgbClr val="FFFFFF"/>
                </a:solidFill>
              </a14:hiddenFill>
            </a:ext>
          </a:extLst>
        </p:spPr>
      </p:pic>
      <p:pic>
        <p:nvPicPr>
          <p:cNvPr id="29" name="图片 28">
            <a:extLst>
              <a:ext uri="{FF2B5EF4-FFF2-40B4-BE49-F238E27FC236}">
                <a16:creationId xmlns:a16="http://schemas.microsoft.com/office/drawing/2014/main" id="{74F1B2C5-76FE-4EEC-90E4-8D18F78EF5E3}"/>
              </a:ext>
            </a:extLst>
          </p:cNvPr>
          <p:cNvPicPr>
            <a:picLocks noChangeAspect="1"/>
          </p:cNvPicPr>
          <p:nvPr/>
        </p:nvPicPr>
        <p:blipFill rotWithShape="1">
          <a:blip r:embed="rId7"/>
          <a:srcRect l="33307" t="8666" r="35545" b="22971"/>
          <a:stretch/>
        </p:blipFill>
        <p:spPr>
          <a:xfrm>
            <a:off x="7962901" y="2593434"/>
            <a:ext cx="1001245" cy="1073161"/>
          </a:xfrm>
          <a:prstGeom prst="rect">
            <a:avLst/>
          </a:prstGeom>
        </p:spPr>
      </p:pic>
      <p:pic>
        <p:nvPicPr>
          <p:cNvPr id="2054" name="Picture 6" descr="AutoGPT Official">
            <a:extLst>
              <a:ext uri="{FF2B5EF4-FFF2-40B4-BE49-F238E27FC236}">
                <a16:creationId xmlns:a16="http://schemas.microsoft.com/office/drawing/2014/main" id="{2275DCDA-C185-4D0F-B3D5-18710E732E9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46446" y="3642346"/>
            <a:ext cx="1756609" cy="541621"/>
          </a:xfrm>
          <a:prstGeom prst="rect">
            <a:avLst/>
          </a:prstGeom>
          <a:noFill/>
          <a:extLst>
            <a:ext uri="{909E8E84-426E-40DD-AFC4-6F175D3DCCD1}">
              <a14:hiddenFill xmlns:a14="http://schemas.microsoft.com/office/drawing/2010/main">
                <a:solidFill>
                  <a:srgbClr val="FFFFFF"/>
                </a:solidFill>
              </a14:hiddenFill>
            </a:ext>
          </a:extLst>
        </p:spPr>
      </p:pic>
      <p:pic>
        <p:nvPicPr>
          <p:cNvPr id="31" name="图片 30">
            <a:extLst>
              <a:ext uri="{FF2B5EF4-FFF2-40B4-BE49-F238E27FC236}">
                <a16:creationId xmlns:a16="http://schemas.microsoft.com/office/drawing/2014/main" id="{F7EC9D2B-40DC-4269-AF8C-C9A9C9935432}"/>
              </a:ext>
            </a:extLst>
          </p:cNvPr>
          <p:cNvPicPr>
            <a:picLocks noChangeAspect="1"/>
          </p:cNvPicPr>
          <p:nvPr/>
        </p:nvPicPr>
        <p:blipFill>
          <a:blip r:embed="rId9"/>
          <a:stretch>
            <a:fillRect/>
          </a:stretch>
        </p:blipFill>
        <p:spPr>
          <a:xfrm>
            <a:off x="6553376" y="2813223"/>
            <a:ext cx="1380307" cy="776423"/>
          </a:xfrm>
          <a:prstGeom prst="rect">
            <a:avLst/>
          </a:prstGeom>
        </p:spPr>
      </p:pic>
      <p:pic>
        <p:nvPicPr>
          <p:cNvPr id="2049" name="图片 2048">
            <a:extLst>
              <a:ext uri="{FF2B5EF4-FFF2-40B4-BE49-F238E27FC236}">
                <a16:creationId xmlns:a16="http://schemas.microsoft.com/office/drawing/2014/main" id="{96C61537-D8B6-4289-AD4A-13009827FE3D}"/>
              </a:ext>
            </a:extLst>
          </p:cNvPr>
          <p:cNvPicPr>
            <a:picLocks noChangeAspect="1"/>
          </p:cNvPicPr>
          <p:nvPr/>
        </p:nvPicPr>
        <p:blipFill rotWithShape="1">
          <a:blip r:embed="rId10"/>
          <a:srcRect t="37070" b="38963"/>
          <a:stretch/>
        </p:blipFill>
        <p:spPr>
          <a:xfrm>
            <a:off x="9325790" y="3713883"/>
            <a:ext cx="2028010" cy="486064"/>
          </a:xfrm>
          <a:prstGeom prst="rect">
            <a:avLst/>
          </a:prstGeom>
        </p:spPr>
      </p:pic>
      <p:pic>
        <p:nvPicPr>
          <p:cNvPr id="2060" name="Picture 12" descr="Invest in Tabnine private stocks | OurCrowd.com">
            <a:extLst>
              <a:ext uri="{FF2B5EF4-FFF2-40B4-BE49-F238E27FC236}">
                <a16:creationId xmlns:a16="http://schemas.microsoft.com/office/drawing/2014/main" id="{626E40B0-91EC-4305-BC57-35779B60D06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186181" y="3130306"/>
            <a:ext cx="2324710" cy="666575"/>
          </a:xfrm>
          <a:prstGeom prst="rect">
            <a:avLst/>
          </a:prstGeom>
          <a:noFill/>
          <a:extLst>
            <a:ext uri="{909E8E84-426E-40DD-AFC4-6F175D3DCCD1}">
              <a14:hiddenFill xmlns:a14="http://schemas.microsoft.com/office/drawing/2010/main">
                <a:solidFill>
                  <a:srgbClr val="FFFFFF"/>
                </a:solidFill>
              </a14:hiddenFill>
            </a:ext>
          </a:extLst>
        </p:spPr>
      </p:pic>
      <p:pic>
        <p:nvPicPr>
          <p:cNvPr id="40" name="图片 39">
            <a:extLst>
              <a:ext uri="{FF2B5EF4-FFF2-40B4-BE49-F238E27FC236}">
                <a16:creationId xmlns:a16="http://schemas.microsoft.com/office/drawing/2014/main" id="{C0BAA7EA-7257-4DB5-BE3E-97996602A0A2}"/>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1320" y="4554237"/>
            <a:ext cx="2570972" cy="920610"/>
          </a:xfrm>
          <a:prstGeom prst="rect">
            <a:avLst/>
          </a:prstGeom>
        </p:spPr>
      </p:pic>
      <p:pic>
        <p:nvPicPr>
          <p:cNvPr id="41" name="Picture 2">
            <a:extLst>
              <a:ext uri="{FF2B5EF4-FFF2-40B4-BE49-F238E27FC236}">
                <a16:creationId xmlns:a16="http://schemas.microsoft.com/office/drawing/2014/main" id="{74BF3164-DEED-41CA-83A8-06C0F619296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93760" y="5312908"/>
            <a:ext cx="1291133" cy="65274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Medical GPT">
            <a:extLst>
              <a:ext uri="{FF2B5EF4-FFF2-40B4-BE49-F238E27FC236}">
                <a16:creationId xmlns:a16="http://schemas.microsoft.com/office/drawing/2014/main" id="{CEDB9594-7A0D-44AE-8543-D85E1FDBEE7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22209" b="40477"/>
          <a:stretch/>
        </p:blipFill>
        <p:spPr bwMode="auto">
          <a:xfrm>
            <a:off x="702649" y="5595785"/>
            <a:ext cx="2467238" cy="920611"/>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GitHub - taokz/BiomedGPT: BiomedGPT: A Unified and Generalist Biomedical  Generative Pre-trained Transformer for Vision, Language, and Multimodal  Tasks">
            <a:extLst>
              <a:ext uri="{FF2B5EF4-FFF2-40B4-BE49-F238E27FC236}">
                <a16:creationId xmlns:a16="http://schemas.microsoft.com/office/drawing/2014/main" id="{148289CC-71F7-45CC-B089-03537D070287}"/>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4212" t="5588" r="31386" b="64528"/>
          <a:stretch/>
        </p:blipFill>
        <p:spPr bwMode="auto">
          <a:xfrm>
            <a:off x="3893570" y="4814753"/>
            <a:ext cx="2362331" cy="548079"/>
          </a:xfrm>
          <a:prstGeom prst="rect">
            <a:avLst/>
          </a:prstGeom>
          <a:noFill/>
          <a:extLst>
            <a:ext uri="{909E8E84-426E-40DD-AFC4-6F175D3DCCD1}">
              <a14:hiddenFill xmlns:a14="http://schemas.microsoft.com/office/drawing/2010/main">
                <a:solidFill>
                  <a:srgbClr val="FFFFFF"/>
                </a:solidFill>
              </a14:hiddenFill>
            </a:ext>
          </a:extLst>
        </p:spPr>
      </p:pic>
      <p:pic>
        <p:nvPicPr>
          <p:cNvPr id="2051" name="图片 2050">
            <a:extLst>
              <a:ext uri="{FF2B5EF4-FFF2-40B4-BE49-F238E27FC236}">
                <a16:creationId xmlns:a16="http://schemas.microsoft.com/office/drawing/2014/main" id="{FE071ABF-BB1C-4AAF-93C7-7D9BE525D5E6}"/>
              </a:ext>
            </a:extLst>
          </p:cNvPr>
          <p:cNvPicPr>
            <a:picLocks noChangeAspect="1"/>
          </p:cNvPicPr>
          <p:nvPr/>
        </p:nvPicPr>
        <p:blipFill rotWithShape="1">
          <a:blip r:embed="rId16">
            <a:clrChange>
              <a:clrFrom>
                <a:srgbClr val="FFFFFF"/>
              </a:clrFrom>
              <a:clrTo>
                <a:srgbClr val="FFFFFF">
                  <a:alpha val="0"/>
                </a:srgbClr>
              </a:clrTo>
            </a:clrChange>
          </a:blip>
          <a:srcRect l="5241" t="26907" r="47940" b="61183"/>
          <a:stretch/>
        </p:blipFill>
        <p:spPr>
          <a:xfrm>
            <a:off x="3836056" y="5501872"/>
            <a:ext cx="2419845" cy="331950"/>
          </a:xfrm>
          <a:prstGeom prst="rect">
            <a:avLst/>
          </a:prstGeom>
        </p:spPr>
      </p:pic>
      <p:pic>
        <p:nvPicPr>
          <p:cNvPr id="2053" name="图片 2052">
            <a:extLst>
              <a:ext uri="{FF2B5EF4-FFF2-40B4-BE49-F238E27FC236}">
                <a16:creationId xmlns:a16="http://schemas.microsoft.com/office/drawing/2014/main" id="{D3AA02D2-C7C1-4F13-9072-886307AFF1D2}"/>
              </a:ext>
            </a:extLst>
          </p:cNvPr>
          <p:cNvPicPr>
            <a:picLocks noChangeAspect="1"/>
          </p:cNvPicPr>
          <p:nvPr/>
        </p:nvPicPr>
        <p:blipFill>
          <a:blip r:embed="rId17"/>
          <a:stretch>
            <a:fillRect/>
          </a:stretch>
        </p:blipFill>
        <p:spPr>
          <a:xfrm>
            <a:off x="6467258" y="4695668"/>
            <a:ext cx="1170721" cy="1074872"/>
          </a:xfrm>
          <a:prstGeom prst="rect">
            <a:avLst/>
          </a:prstGeom>
        </p:spPr>
      </p:pic>
      <p:pic>
        <p:nvPicPr>
          <p:cNvPr id="2064" name="Picture 16" descr="FinChat Agent: Streamlined Financial Customer Support Solutions">
            <a:extLst>
              <a:ext uri="{FF2B5EF4-FFF2-40B4-BE49-F238E27FC236}">
                <a16:creationId xmlns:a16="http://schemas.microsoft.com/office/drawing/2014/main" id="{E73FA31A-1D63-4859-B45E-864276DF32DF}"/>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43529" y="4787338"/>
            <a:ext cx="2227720" cy="808447"/>
          </a:xfrm>
          <a:prstGeom prst="rect">
            <a:avLst/>
          </a:prstGeom>
          <a:noFill/>
          <a:extLst>
            <a:ext uri="{909E8E84-426E-40DD-AFC4-6F175D3DCCD1}">
              <a14:hiddenFill xmlns:a14="http://schemas.microsoft.com/office/drawing/2010/main">
                <a:solidFill>
                  <a:srgbClr val="FFFFFF"/>
                </a:solidFill>
              </a14:hiddenFill>
            </a:ext>
          </a:extLst>
        </p:spPr>
      </p:pic>
      <p:pic>
        <p:nvPicPr>
          <p:cNvPr id="2059" name="图片 2058">
            <a:extLst>
              <a:ext uri="{FF2B5EF4-FFF2-40B4-BE49-F238E27FC236}">
                <a16:creationId xmlns:a16="http://schemas.microsoft.com/office/drawing/2014/main" id="{914AC119-51D0-4238-9282-1152B939D7C2}"/>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6422318" y="5770540"/>
            <a:ext cx="2903472" cy="358171"/>
          </a:xfrm>
          <a:prstGeom prst="rect">
            <a:avLst/>
          </a:prstGeom>
        </p:spPr>
      </p:pic>
      <p:pic>
        <p:nvPicPr>
          <p:cNvPr id="2066" name="Picture 18" descr="GitHub - PKU-YuanGroup/ChatLaw: 中文法律大模型">
            <a:extLst>
              <a:ext uri="{FF2B5EF4-FFF2-40B4-BE49-F238E27FC236}">
                <a16:creationId xmlns:a16="http://schemas.microsoft.com/office/drawing/2014/main" id="{30753E79-3D8A-4B84-980C-153C134BB7C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31439" y="4857992"/>
            <a:ext cx="1232161" cy="922931"/>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a:extLst>
              <a:ext uri="{FF2B5EF4-FFF2-40B4-BE49-F238E27FC236}">
                <a16:creationId xmlns:a16="http://schemas.microsoft.com/office/drawing/2014/main" id="{AB9B4FF2-F326-1A4C-9DBC-B3C29019D96B}"/>
              </a:ext>
            </a:extLst>
          </p:cNvPr>
          <p:cNvPicPr>
            <a:picLocks noChangeAspect="1"/>
          </p:cNvPicPr>
          <p:nvPr/>
        </p:nvPicPr>
        <p:blipFill>
          <a:blip r:embed="rId21"/>
          <a:stretch>
            <a:fillRect/>
          </a:stretch>
        </p:blipFill>
        <p:spPr>
          <a:xfrm>
            <a:off x="9631439" y="2522595"/>
            <a:ext cx="1406840" cy="661335"/>
          </a:xfrm>
          <a:prstGeom prst="rect">
            <a:avLst/>
          </a:prstGeom>
        </p:spPr>
      </p:pic>
    </p:spTree>
    <p:extLst>
      <p:ext uri="{BB962C8B-B14F-4D97-AF65-F5344CB8AC3E}">
        <p14:creationId xmlns:p14="http://schemas.microsoft.com/office/powerpoint/2010/main" val="4293853953"/>
      </p:ext>
    </p:extLst>
  </p:cSld>
  <p:clrMapOvr>
    <a:masterClrMapping/>
  </p:clrMapOvr>
  <p:transition spd="slow">
    <p:randomBa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979997" y="4191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900" i="1" dirty="0">
                <a:solidFill>
                  <a:srgbClr val="445185"/>
                </a:solidFill>
                <a:latin typeface="黑体" panose="02010609060101010101" charset="-122"/>
                <a:ea typeface="黑体" panose="02010609060101010101" charset="-122"/>
              </a:rPr>
              <a:t>AI</a:t>
            </a:r>
            <a:r>
              <a:rPr lang="zh-CN" altLang="en-US" sz="2900" i="1" dirty="0">
                <a:solidFill>
                  <a:srgbClr val="445185"/>
                </a:solidFill>
                <a:latin typeface="黑体" panose="02010609060101010101" charset="-122"/>
                <a:ea typeface="黑体" panose="02010609060101010101" charset="-122"/>
              </a:rPr>
              <a:t>的开源商业化也面临着困难与挑战</a:t>
            </a:r>
          </a:p>
        </p:txBody>
      </p:sp>
      <p:sp>
        <p:nvSpPr>
          <p:cNvPr id="9" name="矩形: 圆角 8">
            <a:extLst>
              <a:ext uri="{FF2B5EF4-FFF2-40B4-BE49-F238E27FC236}">
                <a16:creationId xmlns:a16="http://schemas.microsoft.com/office/drawing/2014/main" id="{4B14ECE7-5DFD-4150-9358-BED62E4DC285}"/>
              </a:ext>
            </a:extLst>
          </p:cNvPr>
          <p:cNvSpPr/>
          <p:nvPr/>
        </p:nvSpPr>
        <p:spPr>
          <a:xfrm>
            <a:off x="984614" y="1491561"/>
            <a:ext cx="5005167"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ctr"/>
            <a:r>
              <a:rPr lang="zh-CN" altLang="en-US" b="1" dirty="0">
                <a:solidFill>
                  <a:schemeClr val="tx1"/>
                </a:solidFill>
              </a:rPr>
              <a:t>资金消耗过大，商业模式待探索</a:t>
            </a:r>
            <a:endParaRPr lang="zh-CN" altLang="zh-CN" b="1" dirty="0">
              <a:solidFill>
                <a:schemeClr val="tx1"/>
              </a:solidFill>
            </a:endParaRPr>
          </a:p>
        </p:txBody>
      </p:sp>
      <p:sp>
        <p:nvSpPr>
          <p:cNvPr id="10" name="矩形: 圆角 9">
            <a:extLst>
              <a:ext uri="{FF2B5EF4-FFF2-40B4-BE49-F238E27FC236}">
                <a16:creationId xmlns:a16="http://schemas.microsoft.com/office/drawing/2014/main" id="{69137B16-0740-487B-B2A4-6A996F5E48B8}"/>
              </a:ext>
            </a:extLst>
          </p:cNvPr>
          <p:cNvSpPr/>
          <p:nvPr/>
        </p:nvSpPr>
        <p:spPr>
          <a:xfrm>
            <a:off x="984614" y="3697313"/>
            <a:ext cx="5005167"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ctr"/>
            <a:r>
              <a:rPr lang="zh-CN" altLang="en-US" b="1" dirty="0">
                <a:solidFill>
                  <a:schemeClr val="tx1"/>
                </a:solidFill>
              </a:rPr>
              <a:t>存在抄袭风险</a:t>
            </a:r>
            <a:endParaRPr lang="zh-CN" altLang="zh-CN" b="1" dirty="0">
              <a:solidFill>
                <a:schemeClr val="tx1"/>
              </a:solidFill>
            </a:endParaRPr>
          </a:p>
        </p:txBody>
      </p:sp>
      <p:sp>
        <p:nvSpPr>
          <p:cNvPr id="13" name="矩形: 圆角 12">
            <a:extLst>
              <a:ext uri="{FF2B5EF4-FFF2-40B4-BE49-F238E27FC236}">
                <a16:creationId xmlns:a16="http://schemas.microsoft.com/office/drawing/2014/main" id="{FEFC615C-AB22-4DDE-8207-896B6E0AA4F7}"/>
              </a:ext>
            </a:extLst>
          </p:cNvPr>
          <p:cNvSpPr/>
          <p:nvPr/>
        </p:nvSpPr>
        <p:spPr>
          <a:xfrm>
            <a:off x="6096000" y="1491561"/>
            <a:ext cx="5448300"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ctr"/>
            <a:r>
              <a:rPr lang="zh-CN" altLang="en-US" b="1" dirty="0">
                <a:solidFill>
                  <a:schemeClr val="tx1"/>
                </a:solidFill>
              </a:rPr>
              <a:t>技术高速迭代，开源玩家技术迭代压力大</a:t>
            </a:r>
            <a:endParaRPr lang="en-US" altLang="zh-CN" b="1" dirty="0">
              <a:solidFill>
                <a:schemeClr val="tx1"/>
              </a:solidFill>
            </a:endParaRPr>
          </a:p>
        </p:txBody>
      </p:sp>
      <p:sp>
        <p:nvSpPr>
          <p:cNvPr id="16" name="矩形: 圆角 15">
            <a:extLst>
              <a:ext uri="{FF2B5EF4-FFF2-40B4-BE49-F238E27FC236}">
                <a16:creationId xmlns:a16="http://schemas.microsoft.com/office/drawing/2014/main" id="{1FFCB025-1961-4804-837A-ED8253C2A0CE}"/>
              </a:ext>
            </a:extLst>
          </p:cNvPr>
          <p:cNvSpPr/>
          <p:nvPr/>
        </p:nvSpPr>
        <p:spPr>
          <a:xfrm>
            <a:off x="6096000" y="3697313"/>
            <a:ext cx="5448300"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ctr"/>
            <a:r>
              <a:rPr lang="zh-CN" altLang="en-US" b="1" dirty="0">
                <a:solidFill>
                  <a:schemeClr val="tx1"/>
                </a:solidFill>
              </a:rPr>
              <a:t>生态群体对模型迭代贡献有限</a:t>
            </a:r>
            <a:endParaRPr lang="en-US" altLang="zh-CN" b="1" dirty="0">
              <a:solidFill>
                <a:schemeClr val="tx1"/>
              </a:solidFill>
            </a:endParaRPr>
          </a:p>
        </p:txBody>
      </p:sp>
      <p:sp>
        <p:nvSpPr>
          <p:cNvPr id="2" name="文本框 1">
            <a:extLst>
              <a:ext uri="{FF2B5EF4-FFF2-40B4-BE49-F238E27FC236}">
                <a16:creationId xmlns:a16="http://schemas.microsoft.com/office/drawing/2014/main" id="{4C96E782-2A2E-49B6-A2B0-FAA0C0B62AE6}"/>
              </a:ext>
            </a:extLst>
          </p:cNvPr>
          <p:cNvSpPr txBox="1"/>
          <p:nvPr/>
        </p:nvSpPr>
        <p:spPr>
          <a:xfrm>
            <a:off x="475172" y="6438899"/>
            <a:ext cx="3429000" cy="307777"/>
          </a:xfrm>
          <a:prstGeom prst="rect">
            <a:avLst/>
          </a:prstGeom>
          <a:noFill/>
        </p:spPr>
        <p:txBody>
          <a:bodyPr wrap="square" rtlCol="0">
            <a:spAutoFit/>
          </a:bodyPr>
          <a:lstStyle/>
          <a:p>
            <a:r>
              <a:rPr lang="zh-CN" altLang="en-US" sz="1400" dirty="0"/>
              <a:t>信息来源：雷锋网</a:t>
            </a:r>
          </a:p>
        </p:txBody>
      </p:sp>
      <p:sp>
        <p:nvSpPr>
          <p:cNvPr id="17" name="文本框 16">
            <a:extLst>
              <a:ext uri="{FF2B5EF4-FFF2-40B4-BE49-F238E27FC236}">
                <a16:creationId xmlns:a16="http://schemas.microsoft.com/office/drawing/2014/main" id="{2AF05F9B-FB7E-4A0D-AAF6-EA299229DAE9}"/>
              </a:ext>
            </a:extLst>
          </p:cNvPr>
          <p:cNvSpPr txBox="1"/>
          <p:nvPr/>
        </p:nvSpPr>
        <p:spPr>
          <a:xfrm>
            <a:off x="979997" y="2068899"/>
            <a:ext cx="4903567" cy="1530419"/>
          </a:xfrm>
          <a:prstGeom prst="rect">
            <a:avLst/>
          </a:prstGeom>
          <a:noFill/>
        </p:spPr>
        <p:txBody>
          <a:bodyPr wrap="square" rtlCol="0">
            <a:spAutoFit/>
          </a:bodyPr>
          <a:lstStyle/>
          <a:p>
            <a:pPr marL="133350" indent="360000" algn="just">
              <a:lnSpc>
                <a:spcPct val="150000"/>
              </a:lnSpc>
            </a:pPr>
            <a:r>
              <a:rPr lang="zh-CN" altLang="en-US" sz="1600" b="1" i="0" dirty="0">
                <a:effectLst/>
                <a:latin typeface="Helvetica Neue"/>
              </a:rPr>
              <a:t>超大规模的模型训练需要很大资金投入，</a:t>
            </a:r>
            <a:r>
              <a:rPr lang="zh-CN" altLang="en-US" sz="1600" b="0" i="0" dirty="0">
                <a:effectLst/>
                <a:latin typeface="Helvetica Neue"/>
              </a:rPr>
              <a:t>目前尚未有明确的商业模式，</a:t>
            </a:r>
            <a:r>
              <a:rPr lang="zh-CN" altLang="en-US" sz="1600" dirty="0">
                <a:latin typeface="Helvetica Neue"/>
              </a:rPr>
              <a:t>对大模型投入很难持续。</a:t>
            </a:r>
            <a:endParaRPr lang="en-US" altLang="zh-CN" sz="1600" dirty="0">
              <a:latin typeface="Helvetica Neue"/>
            </a:endParaRPr>
          </a:p>
          <a:p>
            <a:pPr marL="133350" indent="360000" algn="just">
              <a:lnSpc>
                <a:spcPct val="150000"/>
              </a:lnSpc>
            </a:pPr>
            <a:r>
              <a:rPr lang="zh-CN" altLang="en-US" sz="1600" dirty="0">
                <a:latin typeface="Helvetica Neue"/>
              </a:rPr>
              <a:t>大模型公司的开闭源策略随时间推移变化变化大，尚未能产生明确战略</a:t>
            </a:r>
            <a:endParaRPr lang="en-US" altLang="zh-CN" sz="1600" dirty="0">
              <a:latin typeface="Helvetica Neue"/>
            </a:endParaRPr>
          </a:p>
        </p:txBody>
      </p:sp>
      <p:sp>
        <p:nvSpPr>
          <p:cNvPr id="20" name="文本框 19">
            <a:extLst>
              <a:ext uri="{FF2B5EF4-FFF2-40B4-BE49-F238E27FC236}">
                <a16:creationId xmlns:a16="http://schemas.microsoft.com/office/drawing/2014/main" id="{0471E39B-7483-404A-B2AC-F4A1CDD4F00D}"/>
              </a:ext>
            </a:extLst>
          </p:cNvPr>
          <p:cNvSpPr txBox="1"/>
          <p:nvPr/>
        </p:nvSpPr>
        <p:spPr>
          <a:xfrm>
            <a:off x="1035413" y="4291516"/>
            <a:ext cx="4903567" cy="1160702"/>
          </a:xfrm>
          <a:prstGeom prst="rect">
            <a:avLst/>
          </a:prstGeom>
          <a:noFill/>
        </p:spPr>
        <p:txBody>
          <a:bodyPr wrap="square" rtlCol="0">
            <a:spAutoFit/>
          </a:bodyPr>
          <a:lstStyle/>
          <a:p>
            <a:pPr marL="133350" indent="360000" algn="just">
              <a:lnSpc>
                <a:spcPct val="150000"/>
              </a:lnSpc>
            </a:pPr>
            <a:r>
              <a:rPr lang="zh-CN" altLang="en-US" sz="1600" b="1" dirty="0">
                <a:latin typeface="Helvetica Neue"/>
              </a:rPr>
              <a:t>尚未出现明确的法律法规、协议以确定开源模型的相关归属权问题。</a:t>
            </a:r>
            <a:r>
              <a:rPr lang="zh-CN" altLang="en-US" sz="1600" dirty="0">
                <a:latin typeface="Helvetica Neue"/>
              </a:rPr>
              <a:t>导致公司存在被恶意抄袭、损失利润、丧失项目主导权等风险。</a:t>
            </a:r>
            <a:endParaRPr lang="en-US" altLang="zh-CN" sz="1600" dirty="0">
              <a:latin typeface="Helvetica Neue"/>
            </a:endParaRPr>
          </a:p>
        </p:txBody>
      </p:sp>
      <p:sp>
        <p:nvSpPr>
          <p:cNvPr id="21" name="文本框 20">
            <a:extLst>
              <a:ext uri="{FF2B5EF4-FFF2-40B4-BE49-F238E27FC236}">
                <a16:creationId xmlns:a16="http://schemas.microsoft.com/office/drawing/2014/main" id="{EE92B6F4-9E37-423F-BE85-90034C9467D5}"/>
              </a:ext>
            </a:extLst>
          </p:cNvPr>
          <p:cNvSpPr txBox="1"/>
          <p:nvPr/>
        </p:nvSpPr>
        <p:spPr>
          <a:xfrm>
            <a:off x="6180647" y="2074614"/>
            <a:ext cx="5363653" cy="1530419"/>
          </a:xfrm>
          <a:prstGeom prst="rect">
            <a:avLst/>
          </a:prstGeom>
          <a:noFill/>
        </p:spPr>
        <p:txBody>
          <a:bodyPr wrap="square" rtlCol="0">
            <a:spAutoFit/>
          </a:bodyPr>
          <a:lstStyle/>
          <a:p>
            <a:pPr marL="133350" indent="360000" algn="just">
              <a:lnSpc>
                <a:spcPct val="150000"/>
              </a:lnSpc>
            </a:pPr>
            <a:r>
              <a:rPr lang="zh-CN" altLang="en-US" sz="1600" b="1" dirty="0">
                <a:latin typeface="Helvetica Neue"/>
              </a:rPr>
              <a:t>大模型相关技术的高速迭代，开源玩家需在一线技术领域始终保持持续迭代。</a:t>
            </a:r>
            <a:r>
              <a:rPr lang="zh-CN" altLang="en-US" sz="1600" dirty="0">
                <a:latin typeface="Helvetica Neue"/>
              </a:rPr>
              <a:t>按现有趋势，新推出的开源模型对旧有模型呈现碾压之态，只有持续的技术进步才能保持市场份额。</a:t>
            </a:r>
            <a:endParaRPr lang="en-US" altLang="zh-CN" sz="1600" dirty="0">
              <a:latin typeface="Helvetica Neue"/>
            </a:endParaRPr>
          </a:p>
        </p:txBody>
      </p:sp>
      <p:sp>
        <p:nvSpPr>
          <p:cNvPr id="22" name="文本框 21">
            <a:extLst>
              <a:ext uri="{FF2B5EF4-FFF2-40B4-BE49-F238E27FC236}">
                <a16:creationId xmlns:a16="http://schemas.microsoft.com/office/drawing/2014/main" id="{2F080F5A-FA57-4941-A362-7346391F0D2E}"/>
              </a:ext>
            </a:extLst>
          </p:cNvPr>
          <p:cNvSpPr txBox="1"/>
          <p:nvPr/>
        </p:nvSpPr>
        <p:spPr>
          <a:xfrm>
            <a:off x="6180647" y="4278064"/>
            <a:ext cx="5363653" cy="1530034"/>
          </a:xfrm>
          <a:prstGeom prst="rect">
            <a:avLst/>
          </a:prstGeom>
          <a:noFill/>
        </p:spPr>
        <p:txBody>
          <a:bodyPr wrap="square" rtlCol="0">
            <a:spAutoFit/>
          </a:bodyPr>
          <a:lstStyle/>
          <a:p>
            <a:pPr marL="133350" indent="360000" algn="just">
              <a:lnSpc>
                <a:spcPct val="150000"/>
              </a:lnSpc>
            </a:pPr>
            <a:r>
              <a:rPr lang="en-US" altLang="zh-CN" sz="1600" b="1" dirty="0">
                <a:latin typeface="Helvetica Neue"/>
              </a:rPr>
              <a:t>AI/LLM</a:t>
            </a:r>
            <a:r>
              <a:rPr lang="zh-CN" altLang="en-US" sz="1600" b="1" dirty="0">
                <a:latin typeface="Helvetica Neue"/>
              </a:rPr>
              <a:t>开源模型与传统软件开源不同，只会开源权重与模型。</a:t>
            </a:r>
            <a:r>
              <a:rPr lang="zh-CN" altLang="en-US" sz="1600" dirty="0">
                <a:latin typeface="Helvetica Neue"/>
              </a:rPr>
              <a:t>这导致生态用户群体以被动使用为主流，过高技术门槛阻碍了他们对于训练、迭代的贡献度与参与度。</a:t>
            </a:r>
            <a:endParaRPr lang="zh-CN" altLang="zh-CN" sz="1600" dirty="0">
              <a:latin typeface="Helvetica Neue"/>
            </a:endParaRPr>
          </a:p>
        </p:txBody>
      </p:sp>
      <p:sp>
        <p:nvSpPr>
          <p:cNvPr id="5" name="灯片编号占位符 4">
            <a:extLst>
              <a:ext uri="{FF2B5EF4-FFF2-40B4-BE49-F238E27FC236}">
                <a16:creationId xmlns:a16="http://schemas.microsoft.com/office/drawing/2014/main" id="{B747D4D7-913F-4736-9E98-526D3407F5B2}"/>
              </a:ext>
            </a:extLst>
          </p:cNvPr>
          <p:cNvSpPr>
            <a:spLocks noGrp="1"/>
          </p:cNvSpPr>
          <p:nvPr>
            <p:ph type="sldNum" sz="quarter" idx="12"/>
          </p:nvPr>
        </p:nvSpPr>
        <p:spPr/>
        <p:txBody>
          <a:bodyPr/>
          <a:lstStyle/>
          <a:p>
            <a:fld id="{65703A48-C316-4AA3-8E4E-4433376E065D}" type="slidenum">
              <a:rPr lang="zh-CN" altLang="en-US" smtClean="0"/>
              <a:t>13</a:t>
            </a:fld>
            <a:endParaRPr lang="zh-CN" altLang="en-US" dirty="0"/>
          </a:p>
        </p:txBody>
      </p:sp>
    </p:spTree>
    <p:extLst>
      <p:ext uri="{BB962C8B-B14F-4D97-AF65-F5344CB8AC3E}">
        <p14:creationId xmlns:p14="http://schemas.microsoft.com/office/powerpoint/2010/main" val="644469322"/>
      </p:ext>
    </p:extLst>
  </p:cSld>
  <p:clrMapOvr>
    <a:masterClrMapping/>
  </p:clrMapOvr>
  <p:transition spd="slow">
    <p:randomBa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46EE7009-E352-4BD0-AD60-7EC86B4A2251}"/>
              </a:ext>
            </a:extLst>
          </p:cNvPr>
          <p:cNvSpPr/>
          <p:nvPr/>
        </p:nvSpPr>
        <p:spPr>
          <a:xfrm>
            <a:off x="526146" y="1246891"/>
            <a:ext cx="7942938" cy="5109459"/>
          </a:xfrm>
          <a:prstGeom prst="rect">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dirty="0">
              <a:solidFill>
                <a:schemeClr val="accent3"/>
              </a:solidFill>
              <a:latin typeface="微软雅黑" panose="020B0503020204020204" pitchFamily="34" charset="-122"/>
              <a:ea typeface="微软雅黑" panose="020B0503020204020204" pitchFamily="34" charset="-122"/>
            </a:endParaRPr>
          </a:p>
        </p:txBody>
      </p:sp>
      <p:pic>
        <p:nvPicPr>
          <p:cNvPr id="15" name="图片 14">
            <a:extLst>
              <a:ext uri="{FF2B5EF4-FFF2-40B4-BE49-F238E27FC236}">
                <a16:creationId xmlns:a16="http://schemas.microsoft.com/office/drawing/2014/main" id="{16846C14-1D98-469F-A481-EF4ACC25F0A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2108" y="1383640"/>
            <a:ext cx="1679547" cy="880408"/>
          </a:xfrm>
          <a:prstGeom prst="rect">
            <a:avLst/>
          </a:prstGeom>
        </p:spPr>
      </p:pic>
      <p:pic>
        <p:nvPicPr>
          <p:cNvPr id="18" name="Picture 21">
            <a:extLst>
              <a:ext uri="{FF2B5EF4-FFF2-40B4-BE49-F238E27FC236}">
                <a16:creationId xmlns:a16="http://schemas.microsoft.com/office/drawing/2014/main" id="{038D3B91-7196-420A-B79A-F7D7373F91F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05081" y="1287104"/>
            <a:ext cx="1446340" cy="835261"/>
          </a:xfrm>
          <a:prstGeom prst="rect">
            <a:avLst/>
          </a:prstGeom>
        </p:spPr>
      </p:pic>
      <p:pic>
        <p:nvPicPr>
          <p:cNvPr id="19" name="Picture 22">
            <a:extLst>
              <a:ext uri="{FF2B5EF4-FFF2-40B4-BE49-F238E27FC236}">
                <a16:creationId xmlns:a16="http://schemas.microsoft.com/office/drawing/2014/main" id="{20C7E227-FE45-4687-8D66-1BF95454CEB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8572" y="1424108"/>
            <a:ext cx="1579691" cy="887117"/>
          </a:xfrm>
          <a:prstGeom prst="rect">
            <a:avLst/>
          </a:prstGeom>
        </p:spPr>
      </p:pic>
      <p:pic>
        <p:nvPicPr>
          <p:cNvPr id="23" name="Picture 23">
            <a:extLst>
              <a:ext uri="{FF2B5EF4-FFF2-40B4-BE49-F238E27FC236}">
                <a16:creationId xmlns:a16="http://schemas.microsoft.com/office/drawing/2014/main" id="{DF1CF654-6A7E-48F8-964C-ECDAEA70F6D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57349" y="1685833"/>
            <a:ext cx="1536388" cy="882151"/>
          </a:xfrm>
          <a:prstGeom prst="rect">
            <a:avLst/>
          </a:prstGeom>
        </p:spPr>
      </p:pic>
      <p:pic>
        <p:nvPicPr>
          <p:cNvPr id="24" name="图片 23">
            <a:extLst>
              <a:ext uri="{FF2B5EF4-FFF2-40B4-BE49-F238E27FC236}">
                <a16:creationId xmlns:a16="http://schemas.microsoft.com/office/drawing/2014/main" id="{71461DA1-E0EF-463C-9E18-D0C308AD1F5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32342" y="1686481"/>
            <a:ext cx="1686852" cy="918247"/>
          </a:xfrm>
          <a:prstGeom prst="rect">
            <a:avLst/>
          </a:prstGeom>
        </p:spPr>
      </p:pic>
      <p:sp>
        <p:nvSpPr>
          <p:cNvPr id="25" name="TextBox 37">
            <a:extLst>
              <a:ext uri="{FF2B5EF4-FFF2-40B4-BE49-F238E27FC236}">
                <a16:creationId xmlns:a16="http://schemas.microsoft.com/office/drawing/2014/main" id="{3F2DB448-AC84-47A7-BC88-5AE433EC5EA4}"/>
              </a:ext>
            </a:extLst>
          </p:cNvPr>
          <p:cNvSpPr txBox="1"/>
          <p:nvPr/>
        </p:nvSpPr>
        <p:spPr>
          <a:xfrm>
            <a:off x="6017573" y="2772238"/>
            <a:ext cx="2173921" cy="1167692"/>
          </a:xfrm>
          <a:prstGeom prst="rect">
            <a:avLst/>
          </a:prstGeom>
          <a:noFill/>
        </p:spPr>
        <p:txBody>
          <a:bodyPr wrap="square" rtlCol="0">
            <a:spAutoFit/>
          </a:bodyPr>
          <a:lstStyle/>
          <a:p>
            <a:pPr marL="128591" indent="-128591">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代码检查</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a:p>
            <a:pPr marL="128591" indent="-128591">
              <a:lnSpc>
                <a:spcPct val="150000"/>
              </a:lnSpc>
              <a:buFont typeface="Arial" panose="020B0604020202020204" pitchFamily="34" charset="0"/>
              <a:buChar char="•"/>
            </a:pPr>
            <a:r>
              <a:rPr lang="zh-CN" altLang="en" sz="1200" dirty="0">
                <a:latin typeface="微软雅黑" panose="020B0503020204020204" pitchFamily="34" charset="-122"/>
                <a:ea typeface="微软雅黑" panose="020B0503020204020204" pitchFamily="34" charset="-122"/>
                <a:cs typeface="Arial" panose="020B0604020202020204" pitchFamily="34" charset="0"/>
              </a:rPr>
              <a:t>论文</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研究</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a:p>
            <a:pPr marL="128591" indent="-128591">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与来自大公司和项目公司的行业专家深入交流</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26" name="图片 25">
            <a:extLst>
              <a:ext uri="{FF2B5EF4-FFF2-40B4-BE49-F238E27FC236}">
                <a16:creationId xmlns:a16="http://schemas.microsoft.com/office/drawing/2014/main" id="{66229EA6-6CB7-41F1-8051-FCE7F5571A0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53589" y="1859523"/>
            <a:ext cx="1676587" cy="920556"/>
          </a:xfrm>
          <a:prstGeom prst="rect">
            <a:avLst/>
          </a:prstGeom>
        </p:spPr>
      </p:pic>
      <p:sp>
        <p:nvSpPr>
          <p:cNvPr id="27" name="文本框 26">
            <a:extLst>
              <a:ext uri="{FF2B5EF4-FFF2-40B4-BE49-F238E27FC236}">
                <a16:creationId xmlns:a16="http://schemas.microsoft.com/office/drawing/2014/main" id="{2043BF72-1EE0-4C6F-9819-E7068BA18DF6}"/>
              </a:ext>
            </a:extLst>
          </p:cNvPr>
          <p:cNvSpPr txBox="1"/>
          <p:nvPr/>
        </p:nvSpPr>
        <p:spPr>
          <a:xfrm>
            <a:off x="1425910" y="4539304"/>
            <a:ext cx="2983725" cy="1403141"/>
          </a:xfrm>
          <a:prstGeom prst="rect">
            <a:avLst/>
          </a:prstGeom>
          <a:noFill/>
        </p:spPr>
        <p:txBody>
          <a:bodyPr wrap="square" rtlCol="0">
            <a:spAutoFit/>
          </a:bodyPr>
          <a:lstStyle/>
          <a:p>
            <a:pPr marL="128591" indent="-128591">
              <a:lnSpc>
                <a:spcPct val="120000"/>
              </a:lnSpc>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云启</a:t>
            </a:r>
            <a:r>
              <a:rPr lang="en-US" altLang="zh-CN" sz="1200" b="1" dirty="0">
                <a:latin typeface="微软雅黑" panose="020B0503020204020204" pitchFamily="34" charset="-122"/>
                <a:ea typeface="微软雅黑" panose="020B0503020204020204" pitchFamily="34" charset="-122"/>
                <a:cs typeface="Arial" panose="020B0604020202020204" pitchFamily="34" charset="0"/>
              </a:rPr>
              <a:t>BBQ</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开源系列：</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联合华为、阿里、</a:t>
            </a:r>
            <a:r>
              <a:rPr lang="en-GB" altLang="zh-CN" sz="1200" dirty="0">
                <a:latin typeface="微软雅黑" panose="020B0503020204020204" pitchFamily="34" charset="-122"/>
                <a:ea typeface="微软雅黑" panose="020B0503020204020204" pitchFamily="34" charset="-122"/>
                <a:cs typeface="Arial" panose="020B0604020202020204" pitchFamily="34" charset="0"/>
              </a:rPr>
              <a:t> AWS</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和</a:t>
            </a:r>
            <a:r>
              <a:rPr lang="en-GB" altLang="zh-CN" sz="1200" dirty="0" err="1">
                <a:latin typeface="微软雅黑" panose="020B0503020204020204" pitchFamily="34" charset="-122"/>
                <a:ea typeface="微软雅黑" panose="020B0503020204020204" pitchFamily="34" charset="-122"/>
                <a:cs typeface="Arial" panose="020B0604020202020204" pitchFamily="34" charset="0"/>
              </a:rPr>
              <a:t>VMmare</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等大企业开源部门及开源创业公司</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a:p>
            <a:pPr marL="128591" indent="-128591">
              <a:lnSpc>
                <a:spcPct val="120000"/>
              </a:lnSpc>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世界人工智能大会</a:t>
            </a:r>
            <a:r>
              <a:rPr lang="en-US" altLang="zh-CN" sz="12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开源专场分享</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a:p>
            <a:pPr marL="128591" indent="-128591">
              <a:lnSpc>
                <a:spcPct val="120000"/>
              </a:lnSpc>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开源社区交流：</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参与</a:t>
            </a:r>
            <a:r>
              <a:rPr lang="en-US" altLang="zh-CN" sz="1200" dirty="0">
                <a:latin typeface="微软雅黑" panose="020B0503020204020204" pitchFamily="34" charset="-122"/>
                <a:ea typeface="微软雅黑" panose="020B0503020204020204" pitchFamily="34" charset="-122"/>
                <a:cs typeface="Arial" panose="020B0604020202020204" pitchFamily="34" charset="0"/>
              </a:rPr>
              <a:t>TiDB, Milvus</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社区交流</a:t>
            </a:r>
          </a:p>
        </p:txBody>
      </p:sp>
      <p:pic>
        <p:nvPicPr>
          <p:cNvPr id="29" name="图片 28">
            <a:extLst>
              <a:ext uri="{FF2B5EF4-FFF2-40B4-BE49-F238E27FC236}">
                <a16:creationId xmlns:a16="http://schemas.microsoft.com/office/drawing/2014/main" id="{5213E605-EC7C-45EC-91D1-7D1A5A92A733}"/>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699022" y="2744045"/>
            <a:ext cx="1245602" cy="1245602"/>
          </a:xfrm>
          <a:prstGeom prst="rect">
            <a:avLst/>
          </a:prstGeom>
        </p:spPr>
      </p:pic>
      <p:sp>
        <p:nvSpPr>
          <p:cNvPr id="30" name="圆角矩形 122">
            <a:extLst>
              <a:ext uri="{FF2B5EF4-FFF2-40B4-BE49-F238E27FC236}">
                <a16:creationId xmlns:a16="http://schemas.microsoft.com/office/drawing/2014/main" id="{0868891C-8DB5-40EE-BBEF-8FCCC614ABFE}"/>
              </a:ext>
            </a:extLst>
          </p:cNvPr>
          <p:cNvSpPr/>
          <p:nvPr/>
        </p:nvSpPr>
        <p:spPr>
          <a:xfrm>
            <a:off x="8546128" y="1306476"/>
            <a:ext cx="3373009" cy="480000"/>
          </a:xfrm>
          <a:prstGeom prst="round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buClr>
                <a:schemeClr val="accent1"/>
              </a:buClr>
            </a:pPr>
            <a:r>
              <a:rPr lang="zh-CN" altLang="en-US" sz="1600" b="1" i="1" kern="0" dirty="0">
                <a:solidFill>
                  <a:schemeClr val="tx1"/>
                </a:solidFill>
                <a:latin typeface="Kaiti SC Regular" charset="-122"/>
                <a:ea typeface="Kaiti SC Regular" charset="-122"/>
              </a:rPr>
              <a:t>云启开源</a:t>
            </a:r>
            <a:r>
              <a:rPr lang="en-US" altLang="zh-CN" sz="1600" b="1" i="1" kern="0" dirty="0">
                <a:solidFill>
                  <a:schemeClr val="tx1"/>
                </a:solidFill>
                <a:latin typeface="Kaiti SC Regular" charset="-122"/>
                <a:ea typeface="Kaiti SC Regular" charset="-122"/>
              </a:rPr>
              <a:t>portfolio</a:t>
            </a:r>
            <a:endParaRPr lang="en-US" altLang="zh-CN" sz="1600" b="1" i="1" kern="0" dirty="0">
              <a:latin typeface="Kaiti SC Regular" charset="-122"/>
              <a:ea typeface="Kaiti SC Regular" charset="-122"/>
            </a:endParaRPr>
          </a:p>
        </p:txBody>
      </p:sp>
      <p:sp>
        <p:nvSpPr>
          <p:cNvPr id="32" name="文本框 31">
            <a:extLst>
              <a:ext uri="{FF2B5EF4-FFF2-40B4-BE49-F238E27FC236}">
                <a16:creationId xmlns:a16="http://schemas.microsoft.com/office/drawing/2014/main" id="{D1296215-50E2-4021-BBD0-B540DF2027AE}"/>
              </a:ext>
            </a:extLst>
          </p:cNvPr>
          <p:cNvSpPr txBox="1"/>
          <p:nvPr/>
        </p:nvSpPr>
        <p:spPr>
          <a:xfrm>
            <a:off x="414255" y="6248678"/>
            <a:ext cx="1410964" cy="256545"/>
          </a:xfrm>
          <a:prstGeom prst="rect">
            <a:avLst/>
          </a:prstGeom>
          <a:noFill/>
        </p:spPr>
        <p:txBody>
          <a:bodyPr wrap="none" rtlCol="0">
            <a:spAutoFit/>
          </a:bodyPr>
          <a:lstStyle/>
          <a:p>
            <a:r>
              <a:rPr lang="zh-CN" altLang="en-US" sz="1067" dirty="0">
                <a:latin typeface="微软雅黑" panose="020B0503020204020204" pitchFamily="34" charset="-122"/>
                <a:ea typeface="微软雅黑" panose="020B0503020204020204" pitchFamily="34" charset="-122"/>
              </a:rPr>
              <a:t>资料来源：云启资本</a:t>
            </a:r>
            <a:endParaRPr lang="en-US" sz="1067" dirty="0">
              <a:latin typeface="微软雅黑" panose="020B0503020204020204" pitchFamily="34" charset="-122"/>
              <a:ea typeface="微软雅黑" panose="020B0503020204020204" pitchFamily="34" charset="-122"/>
            </a:endParaRPr>
          </a:p>
        </p:txBody>
      </p:sp>
      <p:graphicFrame>
        <p:nvGraphicFramePr>
          <p:cNvPr id="33" name="Diagram 6">
            <a:extLst>
              <a:ext uri="{FF2B5EF4-FFF2-40B4-BE49-F238E27FC236}">
                <a16:creationId xmlns:a16="http://schemas.microsoft.com/office/drawing/2014/main" id="{D6A7A4DF-D237-41BE-951C-FAF22272740E}"/>
              </a:ext>
            </a:extLst>
          </p:cNvPr>
          <p:cNvGraphicFramePr/>
          <p:nvPr>
            <p:extLst>
              <p:ext uri="{D42A27DB-BD31-4B8C-83A1-F6EECF244321}">
                <p14:modId xmlns:p14="http://schemas.microsoft.com/office/powerpoint/2010/main" val="64923954"/>
              </p:ext>
            </p:extLst>
          </p:nvPr>
        </p:nvGraphicFramePr>
        <p:xfrm>
          <a:off x="1421692" y="1769166"/>
          <a:ext cx="5687155" cy="33500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4" name="等腰三角形 33">
            <a:extLst>
              <a:ext uri="{FF2B5EF4-FFF2-40B4-BE49-F238E27FC236}">
                <a16:creationId xmlns:a16="http://schemas.microsoft.com/office/drawing/2014/main" id="{EBF581EB-9170-4BCD-BA45-1754CA7B18F8}"/>
              </a:ext>
            </a:extLst>
          </p:cNvPr>
          <p:cNvSpPr/>
          <p:nvPr/>
        </p:nvSpPr>
        <p:spPr>
          <a:xfrm rot="5400000">
            <a:off x="7321812" y="3516358"/>
            <a:ext cx="2321812" cy="255763"/>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ea typeface="华文楷体" panose="02010600040101010101" pitchFamily="2" charset="-122"/>
              <a:sym typeface="Arial" panose="020B0604020202020204" pitchFamily="34" charset="0"/>
            </a:endParaRPr>
          </a:p>
        </p:txBody>
      </p:sp>
      <p:sp>
        <p:nvSpPr>
          <p:cNvPr id="35" name="文本框 34">
            <a:extLst>
              <a:ext uri="{FF2B5EF4-FFF2-40B4-BE49-F238E27FC236}">
                <a16:creationId xmlns:a16="http://schemas.microsoft.com/office/drawing/2014/main" id="{3143BDD1-30B9-4A0E-AB5E-9CCB33C204BC}"/>
              </a:ext>
            </a:extLst>
          </p:cNvPr>
          <p:cNvSpPr txBox="1"/>
          <p:nvPr/>
        </p:nvSpPr>
        <p:spPr>
          <a:xfrm>
            <a:off x="10095958" y="5304621"/>
            <a:ext cx="399468" cy="461665"/>
          </a:xfrm>
          <a:prstGeom prst="rect">
            <a:avLst/>
          </a:prstGeom>
          <a:noFill/>
        </p:spPr>
        <p:txBody>
          <a:bodyPr wrap="none" rtlCol="0">
            <a:spAutoFit/>
          </a:bodyPr>
          <a:lstStyle/>
          <a:p>
            <a:r>
              <a:rPr lang="en-US" altLang="zh-CN" sz="2400" dirty="0"/>
              <a:t>…</a:t>
            </a:r>
            <a:endParaRPr lang="zh-CN" altLang="en-US" sz="2400" dirty="0"/>
          </a:p>
        </p:txBody>
      </p:sp>
      <p:sp>
        <p:nvSpPr>
          <p:cNvPr id="36" name="TextBox 4">
            <a:extLst>
              <a:ext uri="{FF2B5EF4-FFF2-40B4-BE49-F238E27FC236}">
                <a16:creationId xmlns:a16="http://schemas.microsoft.com/office/drawing/2014/main" id="{465F753A-C029-40DB-96EE-0D4B88A32B47}"/>
              </a:ext>
            </a:extLst>
          </p:cNvPr>
          <p:cNvSpPr txBox="1"/>
          <p:nvPr/>
        </p:nvSpPr>
        <p:spPr>
          <a:xfrm>
            <a:off x="3634668" y="3144528"/>
            <a:ext cx="1107996" cy="369332"/>
          </a:xfrm>
          <a:prstGeom prst="rect">
            <a:avLst/>
          </a:prstGeom>
          <a:noFill/>
        </p:spPr>
        <p:txBody>
          <a:bodyPr wrap="none" rtlCol="0">
            <a:spAutoFit/>
          </a:bodyPr>
          <a:lstStyle/>
          <a:p>
            <a:pPr algn="ctr"/>
            <a:r>
              <a:rPr lang="zh-CN" altLang="en-US" b="1" dirty="0">
                <a:solidFill>
                  <a:schemeClr val="accent2"/>
                </a:solidFill>
                <a:latin typeface="微软雅黑" panose="020B0503020204020204" pitchFamily="34" charset="-122"/>
                <a:ea typeface="微软雅黑" panose="020B0503020204020204" pitchFamily="34" charset="-122"/>
                <a:cs typeface="Arial" panose="020B0604020202020204" pitchFamily="34" charset="0"/>
              </a:rPr>
              <a:t>开源软件</a:t>
            </a:r>
            <a:endParaRPr lang="en-US" altLang="zh-CN" b="1" dirty="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41" name="图片 40">
            <a:extLst>
              <a:ext uri="{FF2B5EF4-FFF2-40B4-BE49-F238E27FC236}">
                <a16:creationId xmlns:a16="http://schemas.microsoft.com/office/drawing/2014/main" id="{51FE3C0F-3C7C-4792-B5C9-3A94B21BCB8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66333" y="2016522"/>
            <a:ext cx="1679026" cy="509952"/>
          </a:xfrm>
          <a:prstGeom prst="rect">
            <a:avLst/>
          </a:prstGeom>
        </p:spPr>
      </p:pic>
      <p:pic>
        <p:nvPicPr>
          <p:cNvPr id="42" name="图片 41">
            <a:extLst>
              <a:ext uri="{FF2B5EF4-FFF2-40B4-BE49-F238E27FC236}">
                <a16:creationId xmlns:a16="http://schemas.microsoft.com/office/drawing/2014/main" id="{1CD6163F-6C00-4930-92DB-7DAAB731450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384267" y="2062882"/>
            <a:ext cx="1322963" cy="392391"/>
          </a:xfrm>
          <a:prstGeom prst="rect">
            <a:avLst/>
          </a:prstGeom>
        </p:spPr>
      </p:pic>
      <p:sp>
        <p:nvSpPr>
          <p:cNvPr id="43" name="文本框 42">
            <a:extLst>
              <a:ext uri="{FF2B5EF4-FFF2-40B4-BE49-F238E27FC236}">
                <a16:creationId xmlns:a16="http://schemas.microsoft.com/office/drawing/2014/main" id="{14F5A3B1-36DA-478A-BE31-F541E8141695}"/>
              </a:ext>
            </a:extLst>
          </p:cNvPr>
          <p:cNvSpPr txBox="1"/>
          <p:nvPr/>
        </p:nvSpPr>
        <p:spPr>
          <a:xfrm>
            <a:off x="674657" y="2702160"/>
            <a:ext cx="1922097" cy="699743"/>
          </a:xfrm>
          <a:prstGeom prst="rect">
            <a:avLst/>
          </a:prstGeom>
          <a:noFill/>
        </p:spPr>
        <p:txBody>
          <a:bodyPr wrap="square" rtlCol="0">
            <a:spAutoFit/>
          </a:bodyPr>
          <a:lstStyle/>
          <a:p>
            <a:pPr marL="128591" indent="-128591">
              <a:lnSpc>
                <a:spcPct val="120000"/>
              </a:lnSpc>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cs typeface="Arial" panose="020B0604020202020204" pitchFamily="34" charset="0"/>
              </a:rPr>
              <a:t>2016</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年，第一家推出开源报告的投资机构</a:t>
            </a:r>
            <a:endParaRPr lang="en-US" altLang="zh-CN" sz="1200" dirty="0">
              <a:latin typeface="微软雅黑" panose="020B0503020204020204" pitchFamily="34" charset="-122"/>
              <a:ea typeface="微软雅黑" panose="020B0503020204020204" pitchFamily="34" charset="-122"/>
              <a:cs typeface="Arial" panose="020B0604020202020204" pitchFamily="34" charset="0"/>
            </a:endParaRPr>
          </a:p>
          <a:p>
            <a:pPr marL="128591" indent="-128591">
              <a:buFont typeface="Arial" panose="020B0604020202020204" pitchFamily="34" charset="0"/>
              <a:buChar char="•"/>
            </a:pPr>
            <a:endParaRPr lang="en-US" altLang="zh-CN" sz="1067"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44" name="图片 43">
            <a:extLst>
              <a:ext uri="{FF2B5EF4-FFF2-40B4-BE49-F238E27FC236}">
                <a16:creationId xmlns:a16="http://schemas.microsoft.com/office/drawing/2014/main" id="{1BF84C19-9CA8-4E65-891B-D93B82D3A8F5}"/>
              </a:ext>
            </a:extLst>
          </p:cNvPr>
          <p:cNvPicPr>
            <a:picLocks noChangeAspect="1"/>
          </p:cNvPicPr>
          <p:nvPr/>
        </p:nvPicPr>
        <p:blipFill>
          <a:blip r:embed="rId16"/>
          <a:stretch>
            <a:fillRect/>
          </a:stretch>
        </p:blipFill>
        <p:spPr>
          <a:xfrm>
            <a:off x="4458891" y="4744761"/>
            <a:ext cx="1826608" cy="1217739"/>
          </a:xfrm>
          <a:prstGeom prst="rect">
            <a:avLst/>
          </a:prstGeom>
        </p:spPr>
      </p:pic>
      <p:pic>
        <p:nvPicPr>
          <p:cNvPr id="45" name="图片 44">
            <a:extLst>
              <a:ext uri="{FF2B5EF4-FFF2-40B4-BE49-F238E27FC236}">
                <a16:creationId xmlns:a16="http://schemas.microsoft.com/office/drawing/2014/main" id="{47F6B5D3-DA72-4407-935F-D245359555FD}"/>
              </a:ext>
            </a:extLst>
          </p:cNvPr>
          <p:cNvPicPr>
            <a:picLocks noChangeAspect="1"/>
          </p:cNvPicPr>
          <p:nvPr/>
        </p:nvPicPr>
        <p:blipFill>
          <a:blip r:embed="rId17"/>
          <a:stretch>
            <a:fillRect/>
          </a:stretch>
        </p:blipFill>
        <p:spPr>
          <a:xfrm>
            <a:off x="6285499" y="4744761"/>
            <a:ext cx="1861675" cy="1217739"/>
          </a:xfrm>
          <a:prstGeom prst="rect">
            <a:avLst/>
          </a:prstGeom>
        </p:spPr>
      </p:pic>
      <p:sp>
        <p:nvSpPr>
          <p:cNvPr id="46" name="灯片编号占位符 14">
            <a:extLst>
              <a:ext uri="{FF2B5EF4-FFF2-40B4-BE49-F238E27FC236}">
                <a16:creationId xmlns:a16="http://schemas.microsoft.com/office/drawing/2014/main" id="{EE27817E-4C15-42A0-8A82-0F2B7CBB8832}"/>
              </a:ext>
            </a:extLst>
          </p:cNvPr>
          <p:cNvSpPr>
            <a:spLocks noGrp="1"/>
          </p:cNvSpPr>
          <p:nvPr>
            <p:ph type="sldNum" sz="quarter" idx="12"/>
          </p:nvPr>
        </p:nvSpPr>
        <p:spPr>
          <a:xfrm>
            <a:off x="8610600" y="6356350"/>
            <a:ext cx="2743200" cy="365125"/>
          </a:xfrm>
        </p:spPr>
        <p:txBody>
          <a:bodyPr/>
          <a:lstStyle/>
          <a:p>
            <a:fld id="{7D9BB5D0-35E4-459D-AEF3-FE4D7C45CC19}" type="slidenum">
              <a:rPr lang="zh-CN" altLang="en-US" smtClean="0"/>
              <a:t>14</a:t>
            </a:fld>
            <a:endParaRPr lang="zh-CN" altLang="en-US"/>
          </a:p>
        </p:txBody>
      </p:sp>
      <p:sp>
        <p:nvSpPr>
          <p:cNvPr id="47" name="标题 1">
            <a:extLst>
              <a:ext uri="{FF2B5EF4-FFF2-40B4-BE49-F238E27FC236}">
                <a16:creationId xmlns:a16="http://schemas.microsoft.com/office/drawing/2014/main" id="{C1B19B57-A7A2-4565-AA41-353B6654618D}"/>
              </a:ext>
            </a:extLst>
          </p:cNvPr>
          <p:cNvSpPr txBox="1">
            <a:spLocks/>
          </p:cNvSpPr>
          <p:nvPr/>
        </p:nvSpPr>
        <p:spPr>
          <a:xfrm>
            <a:off x="492914" y="325431"/>
            <a:ext cx="9945389" cy="821992"/>
          </a:xfrm>
          <a:prstGeom prst="rect">
            <a:avLst/>
          </a:prstGeom>
        </p:spPr>
        <p:txBody>
          <a:bodyPr vert="horz" anchor="ctr">
            <a:normAutofit lnSpcReduction="10000"/>
          </a:bodyPr>
          <a:lstStyle>
            <a:lvl1pPr algn="l" defTabSz="685800" rtl="0" eaLnBrk="1" latinLnBrk="0" hangingPunct="1">
              <a:lnSpc>
                <a:spcPct val="90000"/>
              </a:lnSpc>
              <a:spcBef>
                <a:spcPct val="0"/>
              </a:spcBef>
              <a:buNone/>
              <a:defRPr sz="3300" kern="1200">
                <a:solidFill>
                  <a:schemeClr val="tx1"/>
                </a:solidFill>
                <a:latin typeface="微软雅黑" charset="0"/>
                <a:ea typeface="微软雅黑" charset="0"/>
                <a:cs typeface="+mj-cs"/>
              </a:defRPr>
            </a:lvl1pPr>
          </a:lstStyle>
          <a:p>
            <a:r>
              <a:rPr lang="zh-CN" altLang="en-US" sz="2800" i="1" dirty="0">
                <a:solidFill>
                  <a:srgbClr val="445185"/>
                </a:solidFill>
                <a:latin typeface="黑体" panose="02010609060101010101" charset="-122"/>
                <a:ea typeface="黑体" panose="02010609060101010101" charset="-122"/>
              </a:rPr>
              <a:t>作为国内第一家系统性布局开源的投资机构</a:t>
            </a:r>
          </a:p>
          <a:p>
            <a:r>
              <a:rPr lang="zh-CN" altLang="en-US" sz="2800" i="1" dirty="0">
                <a:solidFill>
                  <a:srgbClr val="445185"/>
                </a:solidFill>
                <a:latin typeface="黑体" panose="02010609060101010101" charset="-122"/>
                <a:ea typeface="黑体" panose="02010609060101010101" charset="-122"/>
              </a:rPr>
              <a:t>云启持续加注开源，陪伴优秀公司成长</a:t>
            </a:r>
          </a:p>
        </p:txBody>
      </p:sp>
      <p:pic>
        <p:nvPicPr>
          <p:cNvPr id="48" name="图片 47">
            <a:extLst>
              <a:ext uri="{FF2B5EF4-FFF2-40B4-BE49-F238E27FC236}">
                <a16:creationId xmlns:a16="http://schemas.microsoft.com/office/drawing/2014/main" id="{0D212074-B6E7-304F-A585-00FFECCF3692}"/>
              </a:ext>
            </a:extLst>
          </p:cNvPr>
          <p:cNvPicPr>
            <a:picLocks noChangeAspect="1"/>
          </p:cNvPicPr>
          <p:nvPr/>
        </p:nvPicPr>
        <p:blipFill>
          <a:blip r:embed="rId18"/>
          <a:stretch>
            <a:fillRect/>
          </a:stretch>
        </p:blipFill>
        <p:spPr>
          <a:xfrm>
            <a:off x="9329102" y="4093630"/>
            <a:ext cx="1933179" cy="908759"/>
          </a:xfrm>
          <a:prstGeom prst="rect">
            <a:avLst/>
          </a:prstGeom>
        </p:spPr>
      </p:pic>
      <p:pic>
        <p:nvPicPr>
          <p:cNvPr id="2050" name="Picture 2" descr="GitHub - risingwavelabs/risingwave: The streaming database: SQL stream  processing with Postgres-like experience 🪄. 10X more cost-efficient than  Apache Flink 🚀.">
            <a:extLst>
              <a:ext uri="{FF2B5EF4-FFF2-40B4-BE49-F238E27FC236}">
                <a16:creationId xmlns:a16="http://schemas.microsoft.com/office/drawing/2014/main" id="{8630AE43-15BF-0A42-8EC3-94CD755E179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6443" b="25361"/>
          <a:stretch/>
        </p:blipFill>
        <p:spPr bwMode="auto">
          <a:xfrm>
            <a:off x="10095958" y="2853173"/>
            <a:ext cx="1853240" cy="89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000791"/>
      </p:ext>
    </p:extLst>
  </p:cSld>
  <p:clrMapOvr>
    <a:masterClrMapping/>
  </p:clrMapOvr>
  <p:transition spd="slow">
    <p:randomBa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a:xfrm>
            <a:off x="1022985" y="764540"/>
            <a:ext cx="6014085" cy="1852295"/>
          </a:xfrm>
          <a:prstGeom prst="rect">
            <a:avLst/>
          </a:prstGeom>
          <a:noFill/>
          <a:ln w="63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40000"/>
              </a:lnSpc>
            </a:pPr>
            <a:r>
              <a:rPr lang="en-US" sz="6000" b="1" dirty="0">
                <a:solidFill>
                  <a:srgbClr val="445185"/>
                </a:solidFill>
                <a:latin typeface="黑体" panose="02010609060101010101" charset="-122"/>
                <a:ea typeface="黑体" panose="02010609060101010101" charset="-122"/>
                <a:cs typeface="Raleway"/>
              </a:rPr>
              <a:t>THANK YOU</a:t>
            </a:r>
          </a:p>
          <a:p>
            <a:r>
              <a:rPr lang="en-US" sz="2400" dirty="0">
                <a:solidFill>
                  <a:srgbClr val="445185"/>
                </a:solidFill>
                <a:latin typeface="黑体" panose="02010609060101010101" charset="-122"/>
                <a:ea typeface="黑体" panose="02010609060101010101" charset="-122"/>
                <a:cs typeface="Raleway"/>
              </a:rPr>
              <a:t> QUESTIONS?</a:t>
            </a:r>
          </a:p>
        </p:txBody>
      </p:sp>
      <p:sp>
        <p:nvSpPr>
          <p:cNvPr id="15" name="椭圆 14"/>
          <p:cNvSpPr/>
          <p:nvPr>
            <p:custDataLst>
              <p:tags r:id="rId2"/>
            </p:custDataLst>
          </p:nvPr>
        </p:nvSpPr>
        <p:spPr>
          <a:xfrm rot="5400000">
            <a:off x="3344545" y="5866130"/>
            <a:ext cx="272415" cy="272415"/>
          </a:xfrm>
          <a:prstGeom prst="ellipse">
            <a:avLst/>
          </a:prstGeom>
          <a:gradFill>
            <a:gsLst>
              <a:gs pos="0">
                <a:schemeClr val="accent5">
                  <a:lumMod val="20000"/>
                  <a:lumOff val="80000"/>
                </a:schemeClr>
              </a:gs>
              <a:gs pos="71000">
                <a:srgbClr val="B7DFF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custDataLst>
              <p:tags r:id="rId3"/>
            </p:custDataLst>
          </p:nvPr>
        </p:nvSpPr>
        <p:spPr>
          <a:xfrm>
            <a:off x="9951373" y="3774203"/>
            <a:ext cx="1400896" cy="1401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custDataLst>
              <p:tags r:id="rId4"/>
            </p:custDataLst>
          </p:nvPr>
        </p:nvSpPr>
        <p:spPr>
          <a:xfrm>
            <a:off x="9926955" y="5224380"/>
            <a:ext cx="1470025" cy="245110"/>
          </a:xfrm>
          <a:prstGeom prst="rect">
            <a:avLst/>
          </a:prstGeom>
          <a:noFill/>
        </p:spPr>
        <p:txBody>
          <a:bodyPr wrap="square" rtlCol="0">
            <a:spAutoFit/>
          </a:bodyPr>
          <a:lstStyle/>
          <a:p>
            <a:pPr algn="ctr"/>
            <a:r>
              <a:rPr lang="zh-CN" altLang="en-US" sz="1000" dirty="0">
                <a:solidFill>
                  <a:srgbClr val="445185"/>
                </a:solidFill>
                <a:latin typeface="阿里巴巴普惠体 R" panose="00020600040101010101" charset="-122"/>
                <a:ea typeface="阿里巴巴普惠体 R" panose="00020600040101010101" charset="-122"/>
              </a:rPr>
              <a:t>扫码添加讲师联系方式</a:t>
            </a:r>
          </a:p>
        </p:txBody>
      </p:sp>
      <p:pic>
        <p:nvPicPr>
          <p:cNvPr id="2" name="图片 1">
            <a:extLst>
              <a:ext uri="{FF2B5EF4-FFF2-40B4-BE49-F238E27FC236}">
                <a16:creationId xmlns:a16="http://schemas.microsoft.com/office/drawing/2014/main" id="{6180F30E-63B0-4046-84DD-E10075F339B7}"/>
              </a:ext>
            </a:extLst>
          </p:cNvPr>
          <p:cNvPicPr>
            <a:picLocks noChangeAspect="1"/>
          </p:cNvPicPr>
          <p:nvPr/>
        </p:nvPicPr>
        <p:blipFill>
          <a:blip r:embed="rId8"/>
          <a:stretch>
            <a:fillRect/>
          </a:stretch>
        </p:blipFill>
        <p:spPr>
          <a:xfrm>
            <a:off x="10031396" y="3853816"/>
            <a:ext cx="1261141" cy="1242176"/>
          </a:xfrm>
          <a:prstGeom prst="rect">
            <a:avLst/>
          </a:prstGeom>
        </p:spPr>
      </p:pic>
      <p:pic>
        <p:nvPicPr>
          <p:cNvPr id="8" name="Picture 2">
            <a:extLst>
              <a:ext uri="{FF2B5EF4-FFF2-40B4-BE49-F238E27FC236}">
                <a16:creationId xmlns:a16="http://schemas.microsoft.com/office/drawing/2014/main" id="{5D383806-21A2-C245-8760-659AEDAF5409}"/>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36035" b="33215"/>
          <a:stretch/>
        </p:blipFill>
        <p:spPr bwMode="auto">
          <a:xfrm>
            <a:off x="9768504" y="3206590"/>
            <a:ext cx="1766633" cy="543226"/>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descr="徐至行">
            <a:extLst>
              <a:ext uri="{FF2B5EF4-FFF2-40B4-BE49-F238E27FC236}">
                <a16:creationId xmlns:a16="http://schemas.microsoft.com/office/drawing/2014/main" id="{75A62709-5D0D-2E4A-96DD-45CFA544278F}"/>
              </a:ext>
            </a:extLst>
          </p:cNvPr>
          <p:cNvPicPr>
            <a:picLocks noChangeAspect="1"/>
          </p:cNvPicPr>
          <p:nvPr>
            <p:custDataLst>
              <p:tags r:id="rId5"/>
            </p:custDataLst>
          </p:nvPr>
        </p:nvPicPr>
        <p:blipFill>
          <a:blip r:embed="rId10"/>
          <a:stretch>
            <a:fillRect/>
          </a:stretch>
        </p:blipFill>
        <p:spPr>
          <a:xfrm>
            <a:off x="8155305" y="1439545"/>
            <a:ext cx="1374140" cy="1351280"/>
          </a:xfrm>
          <a:prstGeom prst="rect">
            <a:avLst/>
          </a:prstGeom>
        </p:spPr>
      </p:pic>
      <p:sp>
        <p:nvSpPr>
          <p:cNvPr id="10" name="文本框 9">
            <a:extLst>
              <a:ext uri="{FF2B5EF4-FFF2-40B4-BE49-F238E27FC236}">
                <a16:creationId xmlns:a16="http://schemas.microsoft.com/office/drawing/2014/main" id="{1DFC783E-6673-E240-AD2B-7E822F3B430C}"/>
              </a:ext>
            </a:extLst>
          </p:cNvPr>
          <p:cNvSpPr txBox="1"/>
          <p:nvPr/>
        </p:nvSpPr>
        <p:spPr>
          <a:xfrm>
            <a:off x="9342755" y="1588135"/>
            <a:ext cx="3141980" cy="922020"/>
          </a:xfrm>
          <a:prstGeom prst="rect">
            <a:avLst/>
          </a:prstGeom>
          <a:noFill/>
        </p:spPr>
        <p:txBody>
          <a:bodyPr wrap="square" rtlCol="0">
            <a:spAutoFit/>
          </a:bodyPr>
          <a:lstStyle/>
          <a:p>
            <a:pPr algn="ctr"/>
            <a:r>
              <a:rPr lang="zh-CN" altLang="en-US" b="1" dirty="0">
                <a:solidFill>
                  <a:srgbClr val="445185"/>
                </a:solidFill>
                <a:latin typeface="阿里巴巴普惠体 R" panose="00020600040101010101" charset="-122"/>
                <a:ea typeface="阿里巴巴普惠体 R" panose="00020600040101010101" charset="-122"/>
                <a:sym typeface="+mn-ea"/>
              </a:rPr>
              <a:t>欢迎扫码打卡</a:t>
            </a:r>
            <a:endParaRPr lang="zh-CN" altLang="en-US" b="1" dirty="0">
              <a:solidFill>
                <a:srgbClr val="445185"/>
              </a:solidFill>
              <a:latin typeface="阿里巴巴普惠体 R" panose="00020600040101010101" charset="-122"/>
              <a:ea typeface="阿里巴巴普惠体 R" panose="00020600040101010101" charset="-122"/>
            </a:endParaRPr>
          </a:p>
          <a:p>
            <a:pPr algn="ctr"/>
            <a:r>
              <a:rPr lang="zh-CN" altLang="en-US" b="1" dirty="0">
                <a:solidFill>
                  <a:srgbClr val="445185"/>
                </a:solidFill>
                <a:latin typeface="阿里巴巴普惠体 R" panose="00020600040101010101" charset="-122"/>
                <a:ea typeface="阿里巴巴普惠体 R" panose="00020600040101010101" charset="-122"/>
                <a:sym typeface="+mn-ea"/>
              </a:rPr>
              <a:t>积分可兑换对应礼品哟！</a:t>
            </a:r>
            <a:endParaRPr lang="zh-CN" altLang="en-US" b="1" dirty="0">
              <a:solidFill>
                <a:srgbClr val="445185"/>
              </a:solidFill>
              <a:latin typeface="阿里巴巴普惠体 R" panose="00020600040101010101" charset="-122"/>
              <a:ea typeface="阿里巴巴普惠体 R" panose="00020600040101010101" charset="-122"/>
            </a:endParaRPr>
          </a:p>
          <a:p>
            <a:endParaRPr lang="zh-CN"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ŝ1ídé"/>
        <p:cNvGrpSpPr/>
        <p:nvPr/>
      </p:nvGrpSpPr>
      <p:grpSpPr>
        <a:xfrm>
          <a:off x="0" y="0"/>
          <a:ext cx="0" cy="0"/>
          <a:chOff x="0" y="0"/>
          <a:chExt cx="0" cy="0"/>
        </a:xfrm>
      </p:grpSpPr>
      <p:grpSp>
        <p:nvGrpSpPr>
          <p:cNvPr id="3" name="组合 2">
            <a:extLst>
              <a:ext uri="{FF2B5EF4-FFF2-40B4-BE49-F238E27FC236}">
                <a16:creationId xmlns:a16="http://schemas.microsoft.com/office/drawing/2014/main" id="{3D890285-58B8-A0FB-7054-7A50B979FFBB}"/>
              </a:ext>
            </a:extLst>
          </p:cNvPr>
          <p:cNvGrpSpPr/>
          <p:nvPr/>
        </p:nvGrpSpPr>
        <p:grpSpPr>
          <a:xfrm>
            <a:off x="673907" y="4820795"/>
            <a:ext cx="3352170" cy="1337869"/>
            <a:chOff x="673906" y="4820795"/>
            <a:chExt cx="3988603" cy="1337869"/>
          </a:xfrm>
        </p:grpSpPr>
        <p:grpSp>
          <p:nvGrpSpPr>
            <p:cNvPr id="19" name="ïšḷiḋè">
              <a:extLst>
                <a:ext uri="{FF2B5EF4-FFF2-40B4-BE49-F238E27FC236}">
                  <a16:creationId xmlns:a16="http://schemas.microsoft.com/office/drawing/2014/main" id="{52C72B35-0BCA-6D2D-7A94-1AC0CB99C6F4}"/>
                </a:ext>
              </a:extLst>
            </p:cNvPr>
            <p:cNvGrpSpPr/>
            <p:nvPr/>
          </p:nvGrpSpPr>
          <p:grpSpPr>
            <a:xfrm>
              <a:off x="673906" y="5029221"/>
              <a:ext cx="3639476" cy="1129443"/>
              <a:chOff x="1311408" y="5004658"/>
              <a:chExt cx="3639476" cy="1129443"/>
            </a:xfrm>
          </p:grpSpPr>
          <p:cxnSp>
            <p:nvCxnSpPr>
              <p:cNvPr id="4" name="í$1íḓe">
                <a:extLst>
                  <a:ext uri="{FF2B5EF4-FFF2-40B4-BE49-F238E27FC236}">
                    <a16:creationId xmlns:a16="http://schemas.microsoft.com/office/drawing/2014/main" id="{81E775BE-7FF7-B872-C167-0D71E41FF9B9}"/>
                  </a:ext>
                </a:extLst>
              </p:cNvPr>
              <p:cNvCxnSpPr>
                <a:cxnSpLocks/>
              </p:cNvCxnSpPr>
              <p:nvPr/>
            </p:nvCxnSpPr>
            <p:spPr>
              <a:xfrm flipV="1">
                <a:off x="1311408" y="5048520"/>
                <a:ext cx="0" cy="1085581"/>
              </a:xfrm>
              <a:prstGeom prst="straightConnector1">
                <a:avLst/>
              </a:prstGeom>
              <a:ln w="15875">
                <a:solidFill>
                  <a:schemeClr val="accent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8" name="iṡļíḓê">
                <a:extLst>
                  <a:ext uri="{FF2B5EF4-FFF2-40B4-BE49-F238E27FC236}">
                    <a16:creationId xmlns:a16="http://schemas.microsoft.com/office/drawing/2014/main" id="{46F9ED49-3157-B000-9EF2-8CBA1FFE44AC}"/>
                  </a:ext>
                </a:extLst>
              </p:cNvPr>
              <p:cNvSpPr/>
              <p:nvPr/>
            </p:nvSpPr>
            <p:spPr>
              <a:xfrm>
                <a:off x="1380999" y="5004658"/>
                <a:ext cx="3569885" cy="41925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2021  </a:t>
                </a:r>
                <a:r>
                  <a:rPr lang="zh-CN" altLang="en-US" b="1" dirty="0"/>
                  <a:t>开源商业模式的选择</a:t>
                </a:r>
              </a:p>
            </p:txBody>
          </p:sp>
        </p:grpSp>
        <p:cxnSp>
          <p:nvCxnSpPr>
            <p:cNvPr id="6" name="ïsḷiḑè">
              <a:extLst>
                <a:ext uri="{FF2B5EF4-FFF2-40B4-BE49-F238E27FC236}">
                  <a16:creationId xmlns:a16="http://schemas.microsoft.com/office/drawing/2014/main" id="{B43441E2-220A-EE35-9C91-9F45BE365D87}"/>
                </a:ext>
              </a:extLst>
            </p:cNvPr>
            <p:cNvCxnSpPr>
              <a:cxnSpLocks/>
            </p:cNvCxnSpPr>
            <p:nvPr/>
          </p:nvCxnSpPr>
          <p:spPr>
            <a:xfrm flipV="1">
              <a:off x="4662509" y="4820795"/>
              <a:ext cx="0" cy="1155905"/>
            </a:xfrm>
            <a:prstGeom prst="straightConnector1">
              <a:avLst/>
            </a:prstGeom>
            <a:ln w="15875">
              <a:solidFill>
                <a:srgbClr val="8FAADC"/>
              </a:solidFill>
              <a:prstDash val="dash"/>
              <a:tailEnd type="oval"/>
            </a:ln>
          </p:spPr>
          <p:style>
            <a:lnRef idx="1">
              <a:schemeClr val="accent1"/>
            </a:lnRef>
            <a:fillRef idx="0">
              <a:schemeClr val="accent1"/>
            </a:fillRef>
            <a:effectRef idx="0">
              <a:schemeClr val="accent1"/>
            </a:effectRef>
            <a:fontRef idx="minor">
              <a:schemeClr val="tx1"/>
            </a:fontRef>
          </p:style>
        </p:cxnSp>
      </p:grpSp>
      <p:sp>
        <p:nvSpPr>
          <p:cNvPr id="15" name="标题 3">
            <a:extLst>
              <a:ext uri="{FF2B5EF4-FFF2-40B4-BE49-F238E27FC236}">
                <a16:creationId xmlns:a16="http://schemas.microsoft.com/office/drawing/2014/main" id="{30487368-7D53-4CC0-B047-F92D7E26EF15}"/>
              </a:ext>
            </a:extLst>
          </p:cNvPr>
          <p:cNvSpPr txBox="1"/>
          <p:nvPr/>
        </p:nvSpPr>
        <p:spPr>
          <a:xfrm>
            <a:off x="465454" y="252053"/>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开源商业化探索与研究迎来第三年</a:t>
            </a:r>
          </a:p>
        </p:txBody>
      </p:sp>
      <p:cxnSp>
        <p:nvCxnSpPr>
          <p:cNvPr id="27" name="ïsḷiḑè">
            <a:extLst>
              <a:ext uri="{FF2B5EF4-FFF2-40B4-BE49-F238E27FC236}">
                <a16:creationId xmlns:a16="http://schemas.microsoft.com/office/drawing/2014/main" id="{41282488-1656-4209-ADE7-36D586E7BC6E}"/>
              </a:ext>
            </a:extLst>
          </p:cNvPr>
          <p:cNvCxnSpPr>
            <a:cxnSpLocks/>
          </p:cNvCxnSpPr>
          <p:nvPr/>
        </p:nvCxnSpPr>
        <p:spPr>
          <a:xfrm flipV="1">
            <a:off x="7727191" y="4030887"/>
            <a:ext cx="0" cy="1155905"/>
          </a:xfrm>
          <a:prstGeom prst="straightConnector1">
            <a:avLst/>
          </a:prstGeom>
          <a:ln w="15875">
            <a:solidFill>
              <a:srgbClr val="B4C7E7"/>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32" name="iṡļíḓê">
            <a:extLst>
              <a:ext uri="{FF2B5EF4-FFF2-40B4-BE49-F238E27FC236}">
                <a16:creationId xmlns:a16="http://schemas.microsoft.com/office/drawing/2014/main" id="{855BD2AB-B371-4257-8534-7DE0031C6583}"/>
              </a:ext>
            </a:extLst>
          </p:cNvPr>
          <p:cNvSpPr/>
          <p:nvPr/>
        </p:nvSpPr>
        <p:spPr>
          <a:xfrm>
            <a:off x="7784556" y="3964728"/>
            <a:ext cx="2094642" cy="419257"/>
          </a:xfrm>
          <a:prstGeom prst="roundRect">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alpha val="50000"/>
                  </a:schemeClr>
                </a:solidFill>
              </a:rPr>
              <a:t>2023</a:t>
            </a:r>
            <a:r>
              <a:rPr lang="zh-CN" altLang="en-US" b="1" dirty="0">
                <a:solidFill>
                  <a:schemeClr val="tx1">
                    <a:alpha val="50000"/>
                  </a:schemeClr>
                </a:solidFill>
              </a:rPr>
              <a:t>  探索</a:t>
            </a:r>
            <a:r>
              <a:rPr lang="en-US" altLang="zh-CN" b="1" dirty="0">
                <a:solidFill>
                  <a:schemeClr val="tx1">
                    <a:alpha val="50000"/>
                  </a:schemeClr>
                </a:solidFill>
              </a:rPr>
              <a:t>AI</a:t>
            </a:r>
            <a:r>
              <a:rPr lang="zh-CN" altLang="en-US" b="1" dirty="0">
                <a:solidFill>
                  <a:schemeClr val="tx1">
                    <a:alpha val="50000"/>
                  </a:schemeClr>
                </a:solidFill>
              </a:rPr>
              <a:t>开源</a:t>
            </a:r>
          </a:p>
        </p:txBody>
      </p:sp>
      <p:sp>
        <p:nvSpPr>
          <p:cNvPr id="33" name="文本框 32">
            <a:extLst>
              <a:ext uri="{FF2B5EF4-FFF2-40B4-BE49-F238E27FC236}">
                <a16:creationId xmlns:a16="http://schemas.microsoft.com/office/drawing/2014/main" id="{48A93969-9AC2-48E4-AAD6-730A46C327C3}"/>
              </a:ext>
            </a:extLst>
          </p:cNvPr>
          <p:cNvSpPr txBox="1"/>
          <p:nvPr/>
        </p:nvSpPr>
        <p:spPr>
          <a:xfrm>
            <a:off x="7040389" y="1287249"/>
            <a:ext cx="3806663" cy="2546018"/>
          </a:xfrm>
          <a:prstGeom prst="rect">
            <a:avLst/>
          </a:prstGeom>
          <a:noFill/>
        </p:spPr>
        <p:txBody>
          <a:bodyPr wrap="square" rtlCol="0">
            <a:spAutoFit/>
          </a:bodyPr>
          <a:lstStyle/>
          <a:p>
            <a:pPr>
              <a:lnSpc>
                <a:spcPct val="120000"/>
              </a:lnSpc>
              <a:spcAft>
                <a:spcPts val="500"/>
              </a:spcAft>
            </a:pPr>
            <a:r>
              <a:rPr lang="zh-CN" altLang="en-US" b="1" i="1" dirty="0">
                <a:effectLst/>
                <a:latin typeface="微软雅黑" panose="020B0503020204020204" pitchFamily="34" charset="-122"/>
                <a:ea typeface="微软雅黑" panose="020B0503020204020204" pitchFamily="34" charset="-122"/>
              </a:rPr>
              <a:t>已举办多</a:t>
            </a:r>
            <a:r>
              <a:rPr lang="zh-CN" altLang="en-US" b="1" i="1" dirty="0">
                <a:latin typeface="微软雅黑" panose="020B0503020204020204" pitchFamily="34" charset="-122"/>
                <a:ea typeface="微软雅黑" panose="020B0503020204020204" pitchFamily="34" charset="-122"/>
              </a:rPr>
              <a:t>场闭门会议</a:t>
            </a:r>
            <a:endParaRPr lang="en-US" altLang="zh-CN" b="1" i="1" dirty="0">
              <a:latin typeface="微软雅黑" panose="020B0503020204020204" pitchFamily="34" charset="-122"/>
              <a:ea typeface="微软雅黑" panose="020B0503020204020204" pitchFamily="34" charset="-122"/>
            </a:endParaRPr>
          </a:p>
          <a:p>
            <a:pPr>
              <a:lnSpc>
                <a:spcPct val="120000"/>
              </a:lnSpc>
              <a:spcAft>
                <a:spcPts val="500"/>
              </a:spcAft>
            </a:pPr>
            <a:r>
              <a:rPr lang="zh-CN" altLang="en-US" b="1" i="1" dirty="0">
                <a:latin typeface="微软雅黑" panose="020B0503020204020204" pitchFamily="34" charset="-122"/>
                <a:ea typeface="微软雅黑" panose="020B0503020204020204" pitchFamily="34" charset="-122"/>
              </a:rPr>
              <a:t>思想碰撞</a:t>
            </a:r>
            <a:endParaRPr lang="en-US" altLang="zh-CN" b="1" i="1" dirty="0">
              <a:effectLst/>
              <a:latin typeface="微软雅黑" panose="020B0503020204020204" pitchFamily="34" charset="-122"/>
              <a:ea typeface="微软雅黑" panose="020B0503020204020204" pitchFamily="34" charset="-122"/>
            </a:endParaRPr>
          </a:p>
          <a:p>
            <a:pPr>
              <a:lnSpc>
                <a:spcPct val="120000"/>
              </a:lnSpc>
            </a:pPr>
            <a:r>
              <a:rPr lang="en-US" altLang="zh-CN" sz="1200" b="1" dirty="0">
                <a:effectLst/>
                <a:latin typeface="微软雅黑" panose="020B0503020204020204" pitchFamily="34" charset="-122"/>
                <a:ea typeface="微软雅黑" panose="020B0503020204020204" pitchFamily="34" charset="-122"/>
              </a:rPr>
              <a:t>2023</a:t>
            </a:r>
            <a:r>
              <a:rPr lang="en-US" altLang="zh-CN" sz="1200" b="1" dirty="0">
                <a:latin typeface="微软雅黑" panose="020B0503020204020204" pitchFamily="34" charset="-122"/>
                <a:ea typeface="微软雅黑" panose="020B0503020204020204" pitchFamily="34" charset="-122"/>
              </a:rPr>
              <a:t>.08.05</a:t>
            </a:r>
            <a:endParaRPr lang="en-US" altLang="zh-CN" sz="1200" b="1" dirty="0">
              <a:effectLst/>
              <a:latin typeface="微软雅黑" panose="020B0503020204020204" pitchFamily="34" charset="-122"/>
              <a:ea typeface="微软雅黑" panose="020B0503020204020204" pitchFamily="34" charset="-122"/>
            </a:endParaRPr>
          </a:p>
          <a:p>
            <a:pPr lvl="1">
              <a:lnSpc>
                <a:spcPct val="120000"/>
              </a:lnSpc>
              <a:spcAft>
                <a:spcPts val="500"/>
              </a:spcAft>
            </a:pPr>
            <a:r>
              <a:rPr lang="zh-CN" altLang="en-US" sz="1200" dirty="0">
                <a:effectLst/>
                <a:latin typeface="微软雅黑" panose="020B0503020204020204" pitchFamily="34" charset="-122"/>
                <a:ea typeface="微软雅黑" panose="020B0503020204020204" pitchFamily="34" charset="-122"/>
              </a:rPr>
              <a:t>开源商业闭门 </a:t>
            </a:r>
            <a:r>
              <a:rPr lang="en-US" altLang="zh-CN" sz="1200" dirty="0">
                <a:effectLst/>
                <a:latin typeface="微软雅黑" panose="020B0503020204020204" pitchFamily="34" charset="-122"/>
                <a:ea typeface="微软雅黑" panose="020B0503020204020204" pitchFamily="34" charset="-122"/>
              </a:rPr>
              <a:t>Talk</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AI Infra</a:t>
            </a:r>
          </a:p>
          <a:p>
            <a:pPr>
              <a:lnSpc>
                <a:spcPct val="120000"/>
              </a:lnSpc>
            </a:pPr>
            <a:r>
              <a:rPr lang="en-US" altLang="zh-CN" sz="1200" b="1" dirty="0">
                <a:latin typeface="微软雅黑" panose="020B0503020204020204" pitchFamily="34" charset="-122"/>
                <a:ea typeface="微软雅黑" panose="020B0503020204020204" pitchFamily="34" charset="-122"/>
              </a:rPr>
              <a:t>2023.09.16</a:t>
            </a:r>
            <a:endParaRPr lang="en-US" altLang="zh-CN" sz="1200" b="1" dirty="0">
              <a:effectLst/>
              <a:latin typeface="微软雅黑" panose="020B0503020204020204" pitchFamily="34" charset="-122"/>
              <a:ea typeface="微软雅黑" panose="020B0503020204020204" pitchFamily="34" charset="-122"/>
            </a:endParaRPr>
          </a:p>
          <a:p>
            <a:pPr lvl="1">
              <a:lnSpc>
                <a:spcPct val="120000"/>
              </a:lnSpc>
              <a:spcAft>
                <a:spcPts val="500"/>
              </a:spcAft>
            </a:pPr>
            <a:r>
              <a:rPr lang="zh-CN" altLang="en-US" sz="1200" dirty="0">
                <a:effectLst/>
                <a:latin typeface="微软雅黑" panose="020B0503020204020204" pitchFamily="34" charset="-122"/>
                <a:ea typeface="微软雅黑" panose="020B0503020204020204" pitchFamily="34" charset="-122"/>
              </a:rPr>
              <a:t>开源商业闭门 </a:t>
            </a:r>
            <a:r>
              <a:rPr lang="en-US" altLang="zh-CN" sz="1200" dirty="0">
                <a:effectLst/>
                <a:latin typeface="微软雅黑" panose="020B0503020204020204" pitchFamily="34" charset="-122"/>
                <a:ea typeface="微软雅黑" panose="020B0503020204020204" pitchFamily="34" charset="-122"/>
              </a:rPr>
              <a:t>Talk</a:t>
            </a:r>
            <a:r>
              <a:rPr lang="zh-CN" altLang="en-US" sz="1200" dirty="0">
                <a:effectLst/>
                <a:latin typeface="微软雅黑" panose="020B0503020204020204" pitchFamily="34" charset="-122"/>
                <a:ea typeface="微软雅黑" panose="020B0503020204020204" pitchFamily="34" charset="-122"/>
              </a:rPr>
              <a:t>：开源大模型</a:t>
            </a:r>
            <a:endParaRPr lang="en-US" altLang="zh-CN" sz="1200" dirty="0">
              <a:effectLst/>
              <a:latin typeface="微软雅黑" panose="020B0503020204020204" pitchFamily="34" charset="-122"/>
              <a:ea typeface="微软雅黑" panose="020B0503020204020204" pitchFamily="34" charset="-122"/>
            </a:endParaRPr>
          </a:p>
          <a:p>
            <a:pPr>
              <a:lnSpc>
                <a:spcPct val="120000"/>
              </a:lnSpc>
            </a:pPr>
            <a:r>
              <a:rPr lang="en-US" altLang="zh-CN" sz="1200" b="1" dirty="0">
                <a:latin typeface="微软雅黑" panose="020B0503020204020204" pitchFamily="34" charset="-122"/>
                <a:ea typeface="微软雅黑" panose="020B0503020204020204" pitchFamily="34" charset="-122"/>
              </a:rPr>
              <a:t>2023.10.21</a:t>
            </a:r>
          </a:p>
          <a:p>
            <a:pPr lvl="1">
              <a:lnSpc>
                <a:spcPct val="120000"/>
              </a:lnSpc>
            </a:pPr>
            <a:r>
              <a:rPr lang="zh-CN" altLang="en-US" sz="1200" dirty="0">
                <a:effectLst/>
                <a:latin typeface="微软雅黑" panose="020B0503020204020204" pitchFamily="34" charset="-122"/>
                <a:ea typeface="微软雅黑" panose="020B0503020204020204" pitchFamily="34" charset="-122"/>
              </a:rPr>
              <a:t>开源商业闭门系列</a:t>
            </a:r>
            <a:r>
              <a:rPr lang="en-US" altLang="zh-CN" sz="1200" dirty="0">
                <a:effectLst/>
                <a:latin typeface="微软雅黑" panose="020B0503020204020204" pitchFamily="34" charset="-122"/>
                <a:ea typeface="微软雅黑" panose="020B0503020204020204" pitchFamily="34" charset="-122"/>
              </a:rPr>
              <a:t>Talk</a:t>
            </a:r>
            <a:r>
              <a:rPr lang="zh-CN" altLang="en-US" sz="1200" dirty="0">
                <a:effectLst/>
                <a:latin typeface="微软雅黑" panose="020B0503020204020204" pitchFamily="34" charset="-122"/>
                <a:ea typeface="微软雅黑" panose="020B0503020204020204" pitchFamily="34" charset="-122"/>
              </a:rPr>
              <a:t>：数据安全</a:t>
            </a:r>
            <a:endParaRPr lang="en-US" altLang="zh-CN" sz="1200" dirty="0">
              <a:latin typeface="微软雅黑" panose="020B0503020204020204" pitchFamily="34" charset="-122"/>
              <a:ea typeface="微软雅黑" panose="020B0503020204020204" pitchFamily="34" charset="-122"/>
            </a:endParaRPr>
          </a:p>
          <a:p>
            <a:pPr lvl="1" indent="-403225">
              <a:lnSpc>
                <a:spcPct val="120000"/>
              </a:lnSpc>
            </a:pPr>
            <a:r>
              <a:rPr lang="en-US" altLang="zh-CN" sz="1200" dirty="0">
                <a:effectLst/>
                <a:latin typeface="微软雅黑" panose="020B0503020204020204" pitchFamily="34" charset="-122"/>
                <a:ea typeface="微软雅黑" panose="020B0503020204020204" pitchFamily="34" charset="-122"/>
              </a:rPr>
              <a:t>……</a:t>
            </a:r>
          </a:p>
        </p:txBody>
      </p:sp>
      <p:sp>
        <p:nvSpPr>
          <p:cNvPr id="40" name="任意多边形: 形状 39">
            <a:extLst>
              <a:ext uri="{FF2B5EF4-FFF2-40B4-BE49-F238E27FC236}">
                <a16:creationId xmlns:a16="http://schemas.microsoft.com/office/drawing/2014/main" id="{152CD028-E788-4D15-A284-BD960FDA5E03}"/>
              </a:ext>
            </a:extLst>
          </p:cNvPr>
          <p:cNvSpPr/>
          <p:nvPr/>
        </p:nvSpPr>
        <p:spPr>
          <a:xfrm>
            <a:off x="604316" y="3844264"/>
            <a:ext cx="10410017" cy="2248431"/>
          </a:xfrm>
          <a:custGeom>
            <a:avLst/>
            <a:gdLst>
              <a:gd name="connsiteX0" fmla="*/ 0 w 10270836"/>
              <a:gd name="connsiteY0" fmla="*/ 2244436 h 2248431"/>
              <a:gd name="connsiteX1" fmla="*/ 4922982 w 10270836"/>
              <a:gd name="connsiteY1" fmla="*/ 1893454 h 2248431"/>
              <a:gd name="connsiteX2" fmla="*/ 10270836 w 10270836"/>
              <a:gd name="connsiteY2" fmla="*/ 0 h 2248431"/>
            </a:gdLst>
            <a:ahLst/>
            <a:cxnLst>
              <a:cxn ang="0">
                <a:pos x="connsiteX0" y="connsiteY0"/>
              </a:cxn>
              <a:cxn ang="0">
                <a:pos x="connsiteX1" y="connsiteY1"/>
              </a:cxn>
              <a:cxn ang="0">
                <a:pos x="connsiteX2" y="connsiteY2"/>
              </a:cxn>
            </a:cxnLst>
            <a:rect l="l" t="t" r="r" b="b"/>
            <a:pathLst>
              <a:path w="10270836" h="2248431">
                <a:moveTo>
                  <a:pt x="0" y="2244436"/>
                </a:moveTo>
                <a:cubicBezTo>
                  <a:pt x="1605588" y="2255981"/>
                  <a:pt x="3211176" y="2267527"/>
                  <a:pt x="4922982" y="1893454"/>
                </a:cubicBezTo>
                <a:cubicBezTo>
                  <a:pt x="6634788" y="1519381"/>
                  <a:pt x="9434945" y="437188"/>
                  <a:pt x="10270836" y="0"/>
                </a:cubicBezTo>
              </a:path>
            </a:pathLst>
          </a:custGeom>
          <a:noFill/>
          <a:ln w="101600">
            <a:solidFill>
              <a:schemeClr val="accent1">
                <a:lumMod val="60000"/>
                <a:lumOff val="40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26" name="Picture 2">
            <a:extLst>
              <a:ext uri="{FF2B5EF4-FFF2-40B4-BE49-F238E27FC236}">
                <a16:creationId xmlns:a16="http://schemas.microsoft.com/office/drawing/2014/main" id="{F677C8A6-D3A9-4B5E-8AB9-32740EC3B356}"/>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36035" b="33215"/>
          <a:stretch/>
        </p:blipFill>
        <p:spPr bwMode="auto">
          <a:xfrm>
            <a:off x="7733208" y="5427703"/>
            <a:ext cx="2494253" cy="76696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B7E209E-ED99-4F77-8EF4-BFF96703EA17}"/>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18409" y="4737599"/>
            <a:ext cx="1479813" cy="1479813"/>
          </a:xfrm>
          <a:prstGeom prst="rect">
            <a:avLst/>
          </a:prstGeom>
          <a:noFill/>
          <a:extLst>
            <a:ext uri="{909E8E84-426E-40DD-AFC4-6F175D3DCCD1}">
              <a14:hiddenFill xmlns:a14="http://schemas.microsoft.com/office/drawing/2010/main">
                <a:solidFill>
                  <a:srgbClr val="FFFFFF"/>
                </a:solidFill>
              </a14:hiddenFill>
            </a:ext>
          </a:extLst>
        </p:spPr>
      </p:pic>
      <p:pic>
        <p:nvPicPr>
          <p:cNvPr id="5" name="图片 4">
            <a:extLst>
              <a:ext uri="{FF2B5EF4-FFF2-40B4-BE49-F238E27FC236}">
                <a16:creationId xmlns:a16="http://schemas.microsoft.com/office/drawing/2014/main" id="{FE6C887A-4B17-41B2-9445-E2C9BB5DFE32}"/>
              </a:ext>
            </a:extLst>
          </p:cNvPr>
          <p:cNvPicPr>
            <a:picLocks noChangeAspect="1"/>
          </p:cNvPicPr>
          <p:nvPr/>
        </p:nvPicPr>
        <p:blipFill rotWithShape="1">
          <a:blip r:embed="rId6">
            <a:extLst>
              <a:ext uri="{28A0092B-C50C-407E-A947-70E740481C1C}">
                <a14:useLocalDpi xmlns:a14="http://schemas.microsoft.com/office/drawing/2010/main" val="0"/>
              </a:ext>
            </a:extLst>
          </a:blip>
          <a:srcRect l="3392" t="3982" r="67413" b="19487"/>
          <a:stretch/>
        </p:blipFill>
        <p:spPr>
          <a:xfrm>
            <a:off x="782857" y="2586860"/>
            <a:ext cx="1660156" cy="2412838"/>
          </a:xfrm>
          <a:prstGeom prst="rect">
            <a:avLst/>
          </a:prstGeom>
        </p:spPr>
      </p:pic>
      <p:pic>
        <p:nvPicPr>
          <p:cNvPr id="23" name="图片 22">
            <a:extLst>
              <a:ext uri="{FF2B5EF4-FFF2-40B4-BE49-F238E27FC236}">
                <a16:creationId xmlns:a16="http://schemas.microsoft.com/office/drawing/2014/main" id="{8DE1EC4A-3B43-43B3-BE58-9DF7951A4BAE}"/>
              </a:ext>
            </a:extLst>
          </p:cNvPr>
          <p:cNvPicPr>
            <a:picLocks noChangeAspect="1"/>
          </p:cNvPicPr>
          <p:nvPr/>
        </p:nvPicPr>
        <p:blipFill rotWithShape="1">
          <a:blip r:embed="rId6">
            <a:extLst>
              <a:ext uri="{28A0092B-C50C-407E-A947-70E740481C1C}">
                <a14:useLocalDpi xmlns:a14="http://schemas.microsoft.com/office/drawing/2010/main" val="0"/>
              </a:ext>
            </a:extLst>
          </a:blip>
          <a:srcRect l="35078" t="3232" r="37380" b="21341"/>
          <a:stretch/>
        </p:blipFill>
        <p:spPr>
          <a:xfrm>
            <a:off x="1276349" y="2058918"/>
            <a:ext cx="1566206" cy="2378024"/>
          </a:xfrm>
          <a:prstGeom prst="rect">
            <a:avLst/>
          </a:prstGeom>
        </p:spPr>
      </p:pic>
      <p:pic>
        <p:nvPicPr>
          <p:cNvPr id="21" name="图片 20">
            <a:extLst>
              <a:ext uri="{FF2B5EF4-FFF2-40B4-BE49-F238E27FC236}">
                <a16:creationId xmlns:a16="http://schemas.microsoft.com/office/drawing/2014/main" id="{AA455421-9ACF-46CE-A85D-573CD1C708FD}"/>
              </a:ext>
            </a:extLst>
          </p:cNvPr>
          <p:cNvPicPr>
            <a:picLocks noChangeAspect="1"/>
          </p:cNvPicPr>
          <p:nvPr/>
        </p:nvPicPr>
        <p:blipFill rotWithShape="1">
          <a:blip r:embed="rId6">
            <a:extLst>
              <a:ext uri="{28A0092B-C50C-407E-A947-70E740481C1C}">
                <a14:useLocalDpi xmlns:a14="http://schemas.microsoft.com/office/drawing/2010/main" val="0"/>
              </a:ext>
            </a:extLst>
          </a:blip>
          <a:srcRect l="65713" t="8560" r="4289" b="21593"/>
          <a:stretch/>
        </p:blipFill>
        <p:spPr>
          <a:xfrm>
            <a:off x="1789861" y="1828779"/>
            <a:ext cx="1705846" cy="2202108"/>
          </a:xfrm>
          <a:prstGeom prst="rect">
            <a:avLst/>
          </a:prstGeom>
        </p:spPr>
      </p:pic>
      <p:pic>
        <p:nvPicPr>
          <p:cNvPr id="22" name="图片 21">
            <a:extLst>
              <a:ext uri="{FF2B5EF4-FFF2-40B4-BE49-F238E27FC236}">
                <a16:creationId xmlns:a16="http://schemas.microsoft.com/office/drawing/2014/main" id="{8A85B83C-877D-488C-BFE3-D15F13C94E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9759" y="2237342"/>
            <a:ext cx="1819037" cy="2550190"/>
          </a:xfrm>
          <a:prstGeom prst="rect">
            <a:avLst/>
          </a:prstGeom>
        </p:spPr>
      </p:pic>
      <p:sp>
        <p:nvSpPr>
          <p:cNvPr id="20" name="iṡļíḓê">
            <a:extLst>
              <a:ext uri="{FF2B5EF4-FFF2-40B4-BE49-F238E27FC236}">
                <a16:creationId xmlns:a16="http://schemas.microsoft.com/office/drawing/2014/main" id="{C9833781-360D-4EA1-8F5B-D4F6C46D0FDD}"/>
              </a:ext>
            </a:extLst>
          </p:cNvPr>
          <p:cNvSpPr/>
          <p:nvPr/>
        </p:nvSpPr>
        <p:spPr>
          <a:xfrm>
            <a:off x="4123911" y="4892039"/>
            <a:ext cx="2842320" cy="419257"/>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lain" startAt="2022"/>
            </a:pPr>
            <a:r>
              <a:rPr lang="zh-CN" altLang="en-US" b="1" dirty="0">
                <a:solidFill>
                  <a:schemeClr val="tx1">
                    <a:alpha val="50000"/>
                  </a:schemeClr>
                </a:solidFill>
              </a:rPr>
              <a:t> 开源企业出海探索</a:t>
            </a:r>
          </a:p>
        </p:txBody>
      </p:sp>
      <p:pic>
        <p:nvPicPr>
          <p:cNvPr id="2" name="图片 1">
            <a:extLst>
              <a:ext uri="{FF2B5EF4-FFF2-40B4-BE49-F238E27FC236}">
                <a16:creationId xmlns:a16="http://schemas.microsoft.com/office/drawing/2014/main" id="{5A0AFD4E-BD7D-2947-8E21-32922C9AC4BD}"/>
              </a:ext>
            </a:extLst>
          </p:cNvPr>
          <p:cNvPicPr>
            <a:picLocks noChangeAspect="1"/>
          </p:cNvPicPr>
          <p:nvPr/>
        </p:nvPicPr>
        <p:blipFill rotWithShape="1">
          <a:blip r:embed="rId8"/>
          <a:srcRect t="15539"/>
          <a:stretch/>
        </p:blipFill>
        <p:spPr>
          <a:xfrm>
            <a:off x="9959676" y="1232234"/>
            <a:ext cx="1911950" cy="1211616"/>
          </a:xfrm>
          <a:prstGeom prst="rect">
            <a:avLst/>
          </a:prstGeom>
        </p:spPr>
      </p:pic>
      <p:pic>
        <p:nvPicPr>
          <p:cNvPr id="7" name="图片 6">
            <a:extLst>
              <a:ext uri="{FF2B5EF4-FFF2-40B4-BE49-F238E27FC236}">
                <a16:creationId xmlns:a16="http://schemas.microsoft.com/office/drawing/2014/main" id="{99A36CC8-82E2-BC49-AF6B-5E26B631BEA4}"/>
              </a:ext>
            </a:extLst>
          </p:cNvPr>
          <p:cNvPicPr>
            <a:picLocks noChangeAspect="1"/>
          </p:cNvPicPr>
          <p:nvPr/>
        </p:nvPicPr>
        <p:blipFill rotWithShape="1">
          <a:blip r:embed="rId9"/>
          <a:srcRect t="17192"/>
          <a:stretch/>
        </p:blipFill>
        <p:spPr>
          <a:xfrm>
            <a:off x="9959676" y="2583583"/>
            <a:ext cx="1911950" cy="1186968"/>
          </a:xfrm>
          <a:prstGeom prst="rect">
            <a:avLst/>
          </a:prstGeom>
        </p:spPr>
      </p:pic>
      <p:pic>
        <p:nvPicPr>
          <p:cNvPr id="9" name="图片 8">
            <a:extLst>
              <a:ext uri="{FF2B5EF4-FFF2-40B4-BE49-F238E27FC236}">
                <a16:creationId xmlns:a16="http://schemas.microsoft.com/office/drawing/2014/main" id="{8DA49F12-EF09-420E-88D1-5C6608CEEE32}"/>
              </a:ext>
            </a:extLst>
          </p:cNvPr>
          <p:cNvPicPr>
            <a:picLocks noChangeAspect="1"/>
          </p:cNvPicPr>
          <p:nvPr/>
        </p:nvPicPr>
        <p:blipFill rotWithShape="1">
          <a:blip r:embed="rId10">
            <a:extLst>
              <a:ext uri="{28A0092B-C50C-407E-A947-70E740481C1C}">
                <a14:useLocalDpi xmlns:a14="http://schemas.microsoft.com/office/drawing/2010/main" val="0"/>
              </a:ext>
            </a:extLst>
          </a:blip>
          <a:srcRect l="50000" t="52998" r="866" b="139"/>
          <a:stretch/>
        </p:blipFill>
        <p:spPr>
          <a:xfrm>
            <a:off x="4895424" y="1828779"/>
            <a:ext cx="1890865" cy="2541827"/>
          </a:xfrm>
          <a:prstGeom prst="rect">
            <a:avLst/>
          </a:prstGeom>
        </p:spPr>
      </p:pic>
    </p:spTree>
    <p:custDataLst>
      <p:tags r:id="rId1"/>
    </p:custDataLst>
    <p:extLst>
      <p:ext uri="{BB962C8B-B14F-4D97-AF65-F5344CB8AC3E}">
        <p14:creationId xmlns:p14="http://schemas.microsoft.com/office/powerpoint/2010/main" val="3713380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a:extLst>
              <a:ext uri="{FF2B5EF4-FFF2-40B4-BE49-F238E27FC236}">
                <a16:creationId xmlns:a16="http://schemas.microsoft.com/office/drawing/2014/main" id="{17B796C3-706A-4D8D-8C80-5802ECEA607D}"/>
              </a:ext>
            </a:extLst>
          </p:cNvPr>
          <p:cNvSpPr txBox="1"/>
          <p:nvPr/>
        </p:nvSpPr>
        <p:spPr>
          <a:xfrm>
            <a:off x="1160720" y="4191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开源的商业模式得到了资本市场的认可</a:t>
            </a:r>
          </a:p>
        </p:txBody>
      </p:sp>
      <p:sp>
        <p:nvSpPr>
          <p:cNvPr id="14" name="灯片编号占位符 2">
            <a:extLst>
              <a:ext uri="{FF2B5EF4-FFF2-40B4-BE49-F238E27FC236}">
                <a16:creationId xmlns:a16="http://schemas.microsoft.com/office/drawing/2014/main" id="{FC7C989A-5010-4D90-A025-4877A2D1C463}"/>
              </a:ext>
            </a:extLst>
          </p:cNvPr>
          <p:cNvSpPr>
            <a:spLocks noGrp="1"/>
          </p:cNvSpPr>
          <p:nvPr>
            <p:ph type="sldNum" sz="quarter" idx="12"/>
          </p:nvPr>
        </p:nvSpPr>
        <p:spPr>
          <a:xfrm>
            <a:off x="8610600" y="6356350"/>
            <a:ext cx="2743200" cy="365125"/>
          </a:xfrm>
        </p:spPr>
        <p:txBody>
          <a:bodyPr/>
          <a:lstStyle/>
          <a:p>
            <a:fld id="{65703A48-C316-4AA3-8E4E-4433376E065D}" type="slidenum">
              <a:rPr lang="zh-CN" altLang="en-US" smtClean="0"/>
              <a:t>3</a:t>
            </a:fld>
            <a:endParaRPr lang="zh-CN" altLang="en-US"/>
          </a:p>
        </p:txBody>
      </p:sp>
      <p:sp>
        <p:nvSpPr>
          <p:cNvPr id="11" name="矩形: 圆角 10">
            <a:extLst>
              <a:ext uri="{FF2B5EF4-FFF2-40B4-BE49-F238E27FC236}">
                <a16:creationId xmlns:a16="http://schemas.microsoft.com/office/drawing/2014/main" id="{AB924894-0FCC-4357-8411-8BEB2679DB6E}"/>
              </a:ext>
            </a:extLst>
          </p:cNvPr>
          <p:cNvSpPr/>
          <p:nvPr/>
        </p:nvSpPr>
        <p:spPr>
          <a:xfrm>
            <a:off x="953481" y="1266437"/>
            <a:ext cx="5975639"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软件公司愈发受资本青睐，板块估值不断提升</a:t>
            </a:r>
          </a:p>
        </p:txBody>
      </p:sp>
      <p:graphicFrame>
        <p:nvGraphicFramePr>
          <p:cNvPr id="12" name="Chart 3">
            <a:extLst>
              <a:ext uri="{FF2B5EF4-FFF2-40B4-BE49-F238E27FC236}">
                <a16:creationId xmlns:a16="http://schemas.microsoft.com/office/drawing/2014/main" id="{E47FB6E3-ED50-4A38-AEBA-4BA6178FDDFE}"/>
              </a:ext>
            </a:extLst>
          </p:cNvPr>
          <p:cNvGraphicFramePr/>
          <p:nvPr>
            <p:custDataLst>
              <p:tags r:id="rId1"/>
            </p:custDataLst>
            <p:extLst>
              <p:ext uri="{D42A27DB-BD31-4B8C-83A1-F6EECF244321}">
                <p14:modId xmlns:p14="http://schemas.microsoft.com/office/powerpoint/2010/main" val="951170677"/>
              </p:ext>
            </p:extLst>
          </p:nvPr>
        </p:nvGraphicFramePr>
        <p:xfrm>
          <a:off x="954946" y="2046193"/>
          <a:ext cx="6116757" cy="1568560"/>
        </p:xfrm>
        <a:graphic>
          <a:graphicData uri="http://schemas.openxmlformats.org/drawingml/2006/chart">
            <c:chart xmlns:c="http://schemas.openxmlformats.org/drawingml/2006/chart" xmlns:r="http://schemas.openxmlformats.org/officeDocument/2006/relationships" r:id="rId12"/>
          </a:graphicData>
        </a:graphic>
      </p:graphicFrame>
      <p:sp>
        <p:nvSpPr>
          <p:cNvPr id="16" name="文本占位符 2">
            <a:extLst>
              <a:ext uri="{FF2B5EF4-FFF2-40B4-BE49-F238E27FC236}">
                <a16:creationId xmlns:a16="http://schemas.microsoft.com/office/drawing/2014/main" id="{A9CF0714-8AD0-41C9-8973-AC3A9DF4FC32}"/>
              </a:ext>
            </a:extLst>
          </p:cNvPr>
          <p:cNvSpPr>
            <a:spLocks noGrp="1"/>
          </p:cNvSpPr>
          <p:nvPr>
            <p:custDataLst>
              <p:tags r:id="rId2"/>
            </p:custDataLst>
          </p:nvPr>
        </p:nvSpPr>
        <p:spPr bwMode="auto">
          <a:xfrm>
            <a:off x="1589365" y="3654284"/>
            <a:ext cx="170540" cy="147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zh-CN" sz="1500" dirty="0">
                <a:latin typeface="微软雅黑" panose="020B0503020204020204" pitchFamily="34" charset="-122"/>
                <a:ea typeface="微软雅黑" panose="020B0503020204020204" pitchFamily="34" charset="-122"/>
              </a:rPr>
              <a:t>00</a:t>
            </a:r>
            <a:endParaRPr lang="zh-CN" altLang="en-US" sz="1500" dirty="0">
              <a:latin typeface="微软雅黑" panose="020B0503020204020204" pitchFamily="34" charset="-122"/>
              <a:ea typeface="微软雅黑" panose="020B0503020204020204" pitchFamily="34" charset="-122"/>
            </a:endParaRPr>
          </a:p>
        </p:txBody>
      </p:sp>
      <p:sp>
        <p:nvSpPr>
          <p:cNvPr id="26" name="文本占位符 2">
            <a:extLst>
              <a:ext uri="{FF2B5EF4-FFF2-40B4-BE49-F238E27FC236}">
                <a16:creationId xmlns:a16="http://schemas.microsoft.com/office/drawing/2014/main" id="{C0022267-F0F7-47F7-B4A6-7CC3D30F3995}"/>
              </a:ext>
            </a:extLst>
          </p:cNvPr>
          <p:cNvSpPr>
            <a:spLocks noGrp="1"/>
          </p:cNvSpPr>
          <p:nvPr>
            <p:custDataLst>
              <p:tags r:id="rId3"/>
            </p:custDataLst>
          </p:nvPr>
        </p:nvSpPr>
        <p:spPr bwMode="auto">
          <a:xfrm>
            <a:off x="5363114" y="3640572"/>
            <a:ext cx="1148699" cy="21330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zh-CN" sz="1500" dirty="0">
                <a:latin typeface="微软雅黑" panose="020B0503020204020204" pitchFamily="34" charset="-122"/>
                <a:ea typeface="微软雅黑" panose="020B0503020204020204" pitchFamily="34" charset="-122"/>
              </a:rPr>
              <a:t>2023YTD</a:t>
            </a:r>
            <a:endParaRPr lang="zh-CN" altLang="en-US" sz="1500" dirty="0">
              <a:latin typeface="微软雅黑" panose="020B0503020204020204" pitchFamily="34" charset="-122"/>
              <a:ea typeface="微软雅黑" panose="020B0503020204020204" pitchFamily="34" charset="-122"/>
            </a:endParaRPr>
          </a:p>
        </p:txBody>
      </p:sp>
      <p:cxnSp>
        <p:nvCxnSpPr>
          <p:cNvPr id="27" name="直接连接符 26">
            <a:extLst>
              <a:ext uri="{FF2B5EF4-FFF2-40B4-BE49-F238E27FC236}">
                <a16:creationId xmlns:a16="http://schemas.microsoft.com/office/drawing/2014/main" id="{CB05E144-3E98-4A61-858E-64C8A90D8B97}"/>
              </a:ext>
            </a:extLst>
          </p:cNvPr>
          <p:cNvCxnSpPr>
            <a:cxnSpLocks/>
          </p:cNvCxnSpPr>
          <p:nvPr>
            <p:custDataLst>
              <p:tags r:id="rId4"/>
            </p:custDataLst>
          </p:nvPr>
        </p:nvCxnSpPr>
        <p:spPr bwMode="gray">
          <a:xfrm>
            <a:off x="1759905" y="2216971"/>
            <a:ext cx="385816" cy="0"/>
          </a:xfrm>
          <a:prstGeom prst="line">
            <a:avLst/>
          </a:prstGeom>
          <a:ln w="41275" cap="flat" cmpd="sng" algn="ctr">
            <a:solidFill>
              <a:srgbClr val="2F5597"/>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直接连接符 27">
            <a:extLst>
              <a:ext uri="{FF2B5EF4-FFF2-40B4-BE49-F238E27FC236}">
                <a16:creationId xmlns:a16="http://schemas.microsoft.com/office/drawing/2014/main" id="{7442778D-F063-4E7D-89CE-5EF92D71313C}"/>
              </a:ext>
            </a:extLst>
          </p:cNvPr>
          <p:cNvCxnSpPr>
            <a:cxnSpLocks/>
          </p:cNvCxnSpPr>
          <p:nvPr>
            <p:custDataLst>
              <p:tags r:id="rId5"/>
            </p:custDataLst>
          </p:nvPr>
        </p:nvCxnSpPr>
        <p:spPr bwMode="gray">
          <a:xfrm>
            <a:off x="1759905" y="2388021"/>
            <a:ext cx="385816" cy="0"/>
          </a:xfrm>
          <a:prstGeom prst="line">
            <a:avLst/>
          </a:prstGeom>
          <a:ln w="381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文本占位符 2">
            <a:extLst>
              <a:ext uri="{FF2B5EF4-FFF2-40B4-BE49-F238E27FC236}">
                <a16:creationId xmlns:a16="http://schemas.microsoft.com/office/drawing/2014/main" id="{5E4E1750-DDAB-4AD0-8F64-6D21F1594D27}"/>
              </a:ext>
            </a:extLst>
          </p:cNvPr>
          <p:cNvSpPr>
            <a:spLocks noGrp="1"/>
          </p:cNvSpPr>
          <p:nvPr>
            <p:custDataLst>
              <p:tags r:id="rId6"/>
            </p:custDataLst>
          </p:nvPr>
        </p:nvSpPr>
        <p:spPr bwMode="auto">
          <a:xfrm>
            <a:off x="2324417" y="2331260"/>
            <a:ext cx="1124641" cy="13837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B3DF4650-E34C-4EB5-B8A0-320E08C6B60D}" type="datetime'''''D''''''''ea''''l ''''''si''ze ''(US''''''$m''''n'')'''''''">
              <a:rPr lang="en-US" altLang="en-US" sz="1200" smtClean="0">
                <a:latin typeface="微软雅黑" panose="020B0503020204020204" pitchFamily="34" charset="-122"/>
                <a:ea typeface="微软雅黑" panose="020B0503020204020204" pitchFamily="34" charset="-122"/>
              </a:rPr>
              <a:pPr/>
              <a:t>Deal size (US$mn)</a:t>
            </a:fld>
            <a:endParaRPr lang="zh-CN" altLang="en-US" sz="1200" dirty="0">
              <a:latin typeface="微软雅黑" panose="020B0503020204020204" pitchFamily="34" charset="-122"/>
              <a:ea typeface="微软雅黑" panose="020B0503020204020204" pitchFamily="34" charset="-122"/>
            </a:endParaRPr>
          </a:p>
        </p:txBody>
      </p:sp>
      <p:sp>
        <p:nvSpPr>
          <p:cNvPr id="30" name="文本占位符 2">
            <a:extLst>
              <a:ext uri="{FF2B5EF4-FFF2-40B4-BE49-F238E27FC236}">
                <a16:creationId xmlns:a16="http://schemas.microsoft.com/office/drawing/2014/main" id="{D1D70B0C-61A5-4220-AD22-8B083B7574BA}"/>
              </a:ext>
            </a:extLst>
          </p:cNvPr>
          <p:cNvSpPr>
            <a:spLocks noGrp="1"/>
          </p:cNvSpPr>
          <p:nvPr>
            <p:custDataLst>
              <p:tags r:id="rId7"/>
            </p:custDataLst>
          </p:nvPr>
        </p:nvSpPr>
        <p:spPr bwMode="auto">
          <a:xfrm>
            <a:off x="2322565" y="2128142"/>
            <a:ext cx="649895" cy="13837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F8A434D7-CDEA-400D-8524-0A0D47313D0A}" type="datetime'''''# ''''''''o''''f'''''' ''''''de''''a''''''l''''s'' '''">
              <a:rPr lang="en-US" altLang="en-US" sz="1200">
                <a:latin typeface="微软雅黑" panose="020B0503020204020204" pitchFamily="34" charset="-122"/>
                <a:ea typeface="微软雅黑" panose="020B0503020204020204" pitchFamily="34" charset="-122"/>
              </a:rPr>
              <a:pPr/>
              <a:t># of deals </a:t>
            </a:fld>
            <a:endParaRPr lang="zh-CN" altLang="en-US" sz="1200" dirty="0">
              <a:latin typeface="微软雅黑" panose="020B0503020204020204" pitchFamily="34" charset="-122"/>
              <a:ea typeface="微软雅黑" panose="020B0503020204020204" pitchFamily="34" charset="-122"/>
            </a:endParaRPr>
          </a:p>
        </p:txBody>
      </p:sp>
      <p:sp>
        <p:nvSpPr>
          <p:cNvPr id="36" name="文本占位符 2">
            <a:extLst>
              <a:ext uri="{FF2B5EF4-FFF2-40B4-BE49-F238E27FC236}">
                <a16:creationId xmlns:a16="http://schemas.microsoft.com/office/drawing/2014/main" id="{95ACCE2E-36C2-4771-85F4-13A90DAFC7E2}"/>
              </a:ext>
            </a:extLst>
          </p:cNvPr>
          <p:cNvSpPr>
            <a:spLocks noGrp="1"/>
          </p:cNvSpPr>
          <p:nvPr>
            <p:custDataLst>
              <p:tags r:id="rId8"/>
            </p:custDataLst>
          </p:nvPr>
        </p:nvSpPr>
        <p:spPr bwMode="auto">
          <a:xfrm>
            <a:off x="2615267" y="3654284"/>
            <a:ext cx="170540" cy="147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zh-CN" sz="1500" dirty="0">
                <a:latin typeface="微软雅黑" panose="020B0503020204020204" pitchFamily="34" charset="-122"/>
                <a:ea typeface="微软雅黑" panose="020B0503020204020204" pitchFamily="34" charset="-122"/>
              </a:rPr>
              <a:t>05</a:t>
            </a:r>
            <a:endParaRPr lang="zh-CN" altLang="en-US" sz="1500" dirty="0">
              <a:latin typeface="微软雅黑" panose="020B0503020204020204" pitchFamily="34" charset="-122"/>
              <a:ea typeface="微软雅黑" panose="020B0503020204020204" pitchFamily="34" charset="-122"/>
            </a:endParaRPr>
          </a:p>
        </p:txBody>
      </p:sp>
      <p:sp>
        <p:nvSpPr>
          <p:cNvPr id="37" name="文本占位符 2">
            <a:extLst>
              <a:ext uri="{FF2B5EF4-FFF2-40B4-BE49-F238E27FC236}">
                <a16:creationId xmlns:a16="http://schemas.microsoft.com/office/drawing/2014/main" id="{9CFEE5C0-EBE6-4302-A6F9-257D0DA78DA4}"/>
              </a:ext>
            </a:extLst>
          </p:cNvPr>
          <p:cNvSpPr>
            <a:spLocks noGrp="1"/>
          </p:cNvSpPr>
          <p:nvPr>
            <p:custDataLst>
              <p:tags r:id="rId9"/>
            </p:custDataLst>
          </p:nvPr>
        </p:nvSpPr>
        <p:spPr bwMode="auto">
          <a:xfrm>
            <a:off x="3614750" y="3654284"/>
            <a:ext cx="170540" cy="147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zh-CN" sz="1500" dirty="0">
                <a:latin typeface="微软雅黑" panose="020B0503020204020204" pitchFamily="34" charset="-122"/>
                <a:ea typeface="微软雅黑" panose="020B0503020204020204" pitchFamily="34" charset="-122"/>
              </a:rPr>
              <a:t>10</a:t>
            </a:r>
            <a:endParaRPr lang="zh-CN" altLang="en-US" sz="1500" dirty="0">
              <a:latin typeface="微软雅黑" panose="020B0503020204020204" pitchFamily="34" charset="-122"/>
              <a:ea typeface="微软雅黑" panose="020B0503020204020204" pitchFamily="34" charset="-122"/>
            </a:endParaRPr>
          </a:p>
        </p:txBody>
      </p:sp>
      <p:sp>
        <p:nvSpPr>
          <p:cNvPr id="38" name="文本占位符 2">
            <a:extLst>
              <a:ext uri="{FF2B5EF4-FFF2-40B4-BE49-F238E27FC236}">
                <a16:creationId xmlns:a16="http://schemas.microsoft.com/office/drawing/2014/main" id="{5BFA1026-7209-4C25-8E0E-ED57B887F46A}"/>
              </a:ext>
            </a:extLst>
          </p:cNvPr>
          <p:cNvSpPr>
            <a:spLocks noGrp="1"/>
          </p:cNvSpPr>
          <p:nvPr>
            <p:custDataLst>
              <p:tags r:id="rId10"/>
            </p:custDataLst>
          </p:nvPr>
        </p:nvSpPr>
        <p:spPr bwMode="auto">
          <a:xfrm>
            <a:off x="4632684" y="3654284"/>
            <a:ext cx="170540" cy="147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90204" pitchFamily="34" charset="0"/>
              <a:buChar char="•"/>
              <a:defRPr sz="2100" kern="1200">
                <a:solidFill>
                  <a:schemeClr val="tx1"/>
                </a:solidFill>
                <a:latin typeface="微软雅黑" charset="0"/>
                <a:ea typeface="微软雅黑" charset="0"/>
                <a:cs typeface="+mn-cs"/>
              </a:defRPr>
            </a:lvl1pPr>
            <a:lvl2pPr marL="514350" indent="-171450" algn="l" defTabSz="685800" rtl="0" eaLnBrk="1" latinLnBrk="0" hangingPunct="1">
              <a:lnSpc>
                <a:spcPct val="90000"/>
              </a:lnSpc>
              <a:spcBef>
                <a:spcPts val="375"/>
              </a:spcBef>
              <a:buFont typeface="Arial" panose="020B0604020202090204" pitchFamily="34" charset="0"/>
              <a:buChar char="•"/>
              <a:defRPr sz="1800" kern="1200">
                <a:solidFill>
                  <a:schemeClr val="tx1"/>
                </a:solidFill>
                <a:latin typeface="微软雅黑" charset="0"/>
                <a:ea typeface="微软雅黑" charset="0"/>
                <a:cs typeface="+mn-cs"/>
              </a:defRPr>
            </a:lvl2pPr>
            <a:lvl3pPr marL="857250" indent="-171450" algn="l" defTabSz="685800" rtl="0" eaLnBrk="1" latinLnBrk="0" hangingPunct="1">
              <a:lnSpc>
                <a:spcPct val="90000"/>
              </a:lnSpc>
              <a:spcBef>
                <a:spcPts val="375"/>
              </a:spcBef>
              <a:buFont typeface="Arial" panose="020B0604020202090204" pitchFamily="34" charset="0"/>
              <a:buChar char="•"/>
              <a:defRPr sz="1500" kern="1200">
                <a:solidFill>
                  <a:schemeClr val="tx1"/>
                </a:solidFill>
                <a:latin typeface="微软雅黑" charset="0"/>
                <a:ea typeface="微软雅黑" charset="0"/>
                <a:cs typeface="+mn-cs"/>
              </a:defRPr>
            </a:lvl3pPr>
            <a:lvl4pPr marL="12001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4pPr>
            <a:lvl5pPr marL="15430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微软雅黑" charset="0"/>
                <a:ea typeface="微软雅黑" charset="0"/>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zh-CN" sz="1500" dirty="0">
                <a:latin typeface="微软雅黑" panose="020B0503020204020204" pitchFamily="34" charset="-122"/>
                <a:ea typeface="微软雅黑" panose="020B0503020204020204" pitchFamily="34" charset="-122"/>
              </a:rPr>
              <a:t>15</a:t>
            </a:r>
            <a:endParaRPr lang="zh-CN" altLang="en-US" sz="1500" dirty="0">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id="{94A916AD-0258-428A-AFFD-A8E2DF4BCF60}"/>
              </a:ext>
            </a:extLst>
          </p:cNvPr>
          <p:cNvSpPr txBox="1"/>
          <p:nvPr/>
        </p:nvSpPr>
        <p:spPr>
          <a:xfrm>
            <a:off x="769579" y="1696221"/>
            <a:ext cx="6329233" cy="338554"/>
          </a:xfrm>
          <a:prstGeom prst="rect">
            <a:avLst/>
          </a:prstGeom>
          <a:noFill/>
        </p:spPr>
        <p:txBody>
          <a:bodyPr wrap="square" rtlCol="0">
            <a:spAutoFit/>
          </a:bodyPr>
          <a:lstStyle/>
          <a:p>
            <a:pPr algn="ctr"/>
            <a:r>
              <a:rPr lang="zh-CN" altLang="en-US" sz="1600" b="1" kern="1400" dirty="0">
                <a:solidFill>
                  <a:srgbClr val="2F2F2F"/>
                </a:solidFill>
                <a:latin typeface="微软雅黑" panose="020B0503020204020204" pitchFamily="34" charset="-122"/>
                <a:ea typeface="微软雅黑" panose="020B0503020204020204" pitchFamily="34" charset="-122"/>
              </a:rPr>
              <a:t>全球开源软件公司获风险投资数量与总金额不断攀升</a:t>
            </a:r>
            <a:r>
              <a:rPr lang="en-US" altLang="zh-CN" sz="1600" b="1" kern="1400" dirty="0">
                <a:solidFill>
                  <a:srgbClr val="2F2F2F"/>
                </a:solidFill>
                <a:latin typeface="微软雅黑" panose="020B0503020204020204" pitchFamily="34" charset="-122"/>
                <a:ea typeface="微软雅黑" panose="020B0503020204020204" pitchFamily="34" charset="-122"/>
              </a:rPr>
              <a:t>*</a:t>
            </a:r>
            <a:endParaRPr lang="zh-CN" altLang="en-US" sz="1600" b="1" kern="1400" dirty="0">
              <a:solidFill>
                <a:srgbClr val="2F2F2F"/>
              </a:solidFill>
              <a:latin typeface="微软雅黑" panose="020B0503020204020204" pitchFamily="34" charset="-122"/>
              <a:ea typeface="微软雅黑" panose="020B0503020204020204" pitchFamily="34" charset="-122"/>
            </a:endParaRPr>
          </a:p>
        </p:txBody>
      </p:sp>
      <p:sp>
        <p:nvSpPr>
          <p:cNvPr id="40" name="矩形: 圆角 39">
            <a:extLst>
              <a:ext uri="{FF2B5EF4-FFF2-40B4-BE49-F238E27FC236}">
                <a16:creationId xmlns:a16="http://schemas.microsoft.com/office/drawing/2014/main" id="{943FA767-15BB-40CC-9B7C-4C01A7CCDB55}"/>
              </a:ext>
            </a:extLst>
          </p:cNvPr>
          <p:cNvSpPr/>
          <p:nvPr/>
        </p:nvSpPr>
        <p:spPr>
          <a:xfrm>
            <a:off x="7172960" y="1266437"/>
            <a:ext cx="4180840"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软件公司资本市场退出周期加快</a:t>
            </a:r>
          </a:p>
        </p:txBody>
      </p:sp>
      <p:graphicFrame>
        <p:nvGraphicFramePr>
          <p:cNvPr id="41" name="图表 40">
            <a:extLst>
              <a:ext uri="{FF2B5EF4-FFF2-40B4-BE49-F238E27FC236}">
                <a16:creationId xmlns:a16="http://schemas.microsoft.com/office/drawing/2014/main" id="{32E74FE8-DE30-43AD-8BE6-8BF6A82CAB34}"/>
              </a:ext>
            </a:extLst>
          </p:cNvPr>
          <p:cNvGraphicFramePr>
            <a:graphicFrameLocks/>
          </p:cNvGraphicFramePr>
          <p:nvPr>
            <p:extLst>
              <p:ext uri="{D42A27DB-BD31-4B8C-83A1-F6EECF244321}">
                <p14:modId xmlns:p14="http://schemas.microsoft.com/office/powerpoint/2010/main" val="2535917614"/>
              </p:ext>
            </p:extLst>
          </p:nvPr>
        </p:nvGraphicFramePr>
        <p:xfrm>
          <a:off x="7098812" y="2148803"/>
          <a:ext cx="4416912" cy="3887809"/>
        </p:xfrm>
        <a:graphic>
          <a:graphicData uri="http://schemas.openxmlformats.org/drawingml/2006/chart">
            <c:chart xmlns:c="http://schemas.openxmlformats.org/drawingml/2006/chart" xmlns:r="http://schemas.openxmlformats.org/officeDocument/2006/relationships" r:id="rId13"/>
          </a:graphicData>
        </a:graphic>
      </p:graphicFrame>
      <p:sp>
        <p:nvSpPr>
          <p:cNvPr id="18" name="文本框 17">
            <a:extLst>
              <a:ext uri="{FF2B5EF4-FFF2-40B4-BE49-F238E27FC236}">
                <a16:creationId xmlns:a16="http://schemas.microsoft.com/office/drawing/2014/main" id="{8B06CF7A-70AD-40F8-A4DD-A15F06CA5EA7}"/>
              </a:ext>
            </a:extLst>
          </p:cNvPr>
          <p:cNvSpPr txBox="1"/>
          <p:nvPr/>
        </p:nvSpPr>
        <p:spPr>
          <a:xfrm>
            <a:off x="7172960" y="1765080"/>
            <a:ext cx="4386332" cy="338554"/>
          </a:xfrm>
          <a:prstGeom prst="rect">
            <a:avLst/>
          </a:prstGeom>
          <a:noFill/>
        </p:spPr>
        <p:txBody>
          <a:bodyPr wrap="square" rtlCol="0">
            <a:spAutoFit/>
          </a:bodyPr>
          <a:lstStyle/>
          <a:p>
            <a:pPr algn="ctr"/>
            <a:r>
              <a:rPr lang="zh-CN" altLang="en-US" sz="1600" b="1" dirty="0">
                <a:solidFill>
                  <a:schemeClr val="tx1"/>
                </a:solidFill>
                <a:latin typeface="微软雅黑" charset="0"/>
                <a:ea typeface="微软雅黑" charset="0"/>
                <a:cs typeface="Microsoft YaHei" charset="0"/>
              </a:rPr>
              <a:t>主要开源软件公司成立和资本市场退出时间段</a:t>
            </a:r>
            <a:endParaRPr lang="zh-CN" altLang="en-US" sz="1600" b="1" dirty="0"/>
          </a:p>
        </p:txBody>
      </p:sp>
      <p:sp>
        <p:nvSpPr>
          <p:cNvPr id="19" name="文本框 18">
            <a:extLst>
              <a:ext uri="{FF2B5EF4-FFF2-40B4-BE49-F238E27FC236}">
                <a16:creationId xmlns:a16="http://schemas.microsoft.com/office/drawing/2014/main" id="{B06266F4-1D9D-482D-A743-8A3600DC2BAE}"/>
              </a:ext>
            </a:extLst>
          </p:cNvPr>
          <p:cNvSpPr txBox="1"/>
          <p:nvPr/>
        </p:nvSpPr>
        <p:spPr>
          <a:xfrm>
            <a:off x="124524" y="6052625"/>
            <a:ext cx="6097599" cy="972574"/>
          </a:xfrm>
          <a:prstGeom prst="rect">
            <a:avLst/>
          </a:prstGeom>
          <a:noFill/>
        </p:spPr>
        <p:txBody>
          <a:bodyPr wrap="square" rtlCol="0">
            <a:spAutoFit/>
          </a:bodyPr>
          <a:lstStyle/>
          <a:p>
            <a:pPr>
              <a:lnSpc>
                <a:spcPct val="120000"/>
              </a:lnSpc>
              <a:spcBef>
                <a:spcPts val="0"/>
              </a:spcBef>
            </a:pPr>
            <a:r>
              <a:rPr lang="zh-CN" altLang="en-US" sz="1200" dirty="0"/>
              <a:t>信息来源：* 开源软件投融资数据来自云启不完全统计，仅供参考资料来源：</a:t>
            </a:r>
            <a:endParaRPr lang="en-US" altLang="zh-CN" sz="1200" dirty="0"/>
          </a:p>
          <a:p>
            <a:pPr>
              <a:lnSpc>
                <a:spcPct val="120000"/>
              </a:lnSpc>
              <a:spcBef>
                <a:spcPts val="0"/>
              </a:spcBef>
            </a:pPr>
            <a:r>
              <a:rPr lang="zh-CN" altLang="en-US" sz="1200" dirty="0"/>
              <a:t>**图中值为历史数值与</a:t>
            </a:r>
            <a:r>
              <a:rPr lang="en-US" altLang="zh-CN" sz="1200" dirty="0"/>
              <a:t>YTD</a:t>
            </a:r>
            <a:r>
              <a:rPr lang="zh-CN" altLang="en-US" sz="1200" dirty="0"/>
              <a:t>数值的比值</a:t>
            </a:r>
            <a:endParaRPr lang="en-US" altLang="zh-CN" sz="1200" dirty="0"/>
          </a:p>
          <a:p>
            <a:pPr>
              <a:lnSpc>
                <a:spcPct val="120000"/>
              </a:lnSpc>
              <a:spcBef>
                <a:spcPts val="0"/>
              </a:spcBef>
            </a:pPr>
            <a:r>
              <a:rPr lang="en-US" altLang="zh-CN" sz="1200" dirty="0"/>
              <a:t>Crunchbase</a:t>
            </a:r>
            <a:r>
              <a:rPr lang="zh-CN" altLang="en-US" sz="1200" dirty="0"/>
              <a:t>，</a:t>
            </a:r>
            <a:r>
              <a:rPr lang="en-US" altLang="zh-CN" sz="1200" dirty="0"/>
              <a:t>Pitchbook</a:t>
            </a:r>
            <a:r>
              <a:rPr lang="zh-CN" altLang="en-US" sz="1200" dirty="0"/>
              <a:t>，云启资本</a:t>
            </a:r>
          </a:p>
          <a:p>
            <a:endParaRPr lang="zh-CN" altLang="en-US" sz="1400" dirty="0"/>
          </a:p>
        </p:txBody>
      </p:sp>
      <p:graphicFrame>
        <p:nvGraphicFramePr>
          <p:cNvPr id="22" name="图表 21">
            <a:extLst>
              <a:ext uri="{FF2B5EF4-FFF2-40B4-BE49-F238E27FC236}">
                <a16:creationId xmlns:a16="http://schemas.microsoft.com/office/drawing/2014/main" id="{D1B4120C-252E-4295-9329-CD91FB5C12DD}"/>
              </a:ext>
            </a:extLst>
          </p:cNvPr>
          <p:cNvGraphicFramePr>
            <a:graphicFrameLocks/>
          </p:cNvGraphicFramePr>
          <p:nvPr>
            <p:extLst>
              <p:ext uri="{D42A27DB-BD31-4B8C-83A1-F6EECF244321}">
                <p14:modId xmlns:p14="http://schemas.microsoft.com/office/powerpoint/2010/main" val="1631388581"/>
              </p:ext>
            </p:extLst>
          </p:nvPr>
        </p:nvGraphicFramePr>
        <p:xfrm>
          <a:off x="1030699" y="4037573"/>
          <a:ext cx="5657368" cy="2087154"/>
        </p:xfrm>
        <a:graphic>
          <a:graphicData uri="http://schemas.openxmlformats.org/drawingml/2006/chart">
            <c:chart xmlns:c="http://schemas.openxmlformats.org/drawingml/2006/chart" xmlns:r="http://schemas.openxmlformats.org/officeDocument/2006/relationships" r:id="rId14"/>
          </a:graphicData>
        </a:graphic>
      </p:graphicFrame>
      <p:sp>
        <p:nvSpPr>
          <p:cNvPr id="23" name="文本框 22">
            <a:extLst>
              <a:ext uri="{FF2B5EF4-FFF2-40B4-BE49-F238E27FC236}">
                <a16:creationId xmlns:a16="http://schemas.microsoft.com/office/drawing/2014/main" id="{28CCC620-93C8-4B77-BF47-BAAFAAA756A1}"/>
              </a:ext>
            </a:extLst>
          </p:cNvPr>
          <p:cNvSpPr txBox="1"/>
          <p:nvPr/>
        </p:nvSpPr>
        <p:spPr>
          <a:xfrm>
            <a:off x="769579" y="3855376"/>
            <a:ext cx="6329233" cy="338554"/>
          </a:xfrm>
          <a:prstGeom prst="rect">
            <a:avLst/>
          </a:prstGeom>
          <a:noFill/>
        </p:spPr>
        <p:txBody>
          <a:bodyPr wrap="square" rtlCol="0">
            <a:spAutoFit/>
          </a:bodyPr>
          <a:lstStyle/>
          <a:p>
            <a:pPr algn="ctr"/>
            <a:r>
              <a:rPr lang="zh-CN" altLang="en-US" sz="1600" b="1" kern="1400" dirty="0">
                <a:solidFill>
                  <a:srgbClr val="2F2F2F"/>
                </a:solidFill>
                <a:latin typeface="微软雅黑" panose="020B0503020204020204" pitchFamily="34" charset="-122"/>
                <a:ea typeface="微软雅黑" panose="020B0503020204020204" pitchFamily="34" charset="-122"/>
              </a:rPr>
              <a:t>开源上市公司普遍跑赢</a:t>
            </a:r>
            <a:r>
              <a:rPr lang="en-US" altLang="zh-CN" sz="1600" b="1" kern="1400" dirty="0">
                <a:solidFill>
                  <a:srgbClr val="2F2F2F"/>
                </a:solidFill>
                <a:latin typeface="微软雅黑" panose="020B0503020204020204" pitchFamily="34" charset="-122"/>
                <a:ea typeface="微软雅黑" panose="020B0503020204020204" pitchFamily="34" charset="-122"/>
              </a:rPr>
              <a:t>NASDOQ</a:t>
            </a:r>
            <a:r>
              <a:rPr lang="zh-CN" altLang="en-US" sz="1600" b="1" kern="1400" dirty="0">
                <a:solidFill>
                  <a:srgbClr val="2F2F2F"/>
                </a:solidFill>
                <a:latin typeface="微软雅黑" panose="020B0503020204020204" pitchFamily="34" charset="-122"/>
                <a:ea typeface="微软雅黑" panose="020B0503020204020204" pitchFamily="34" charset="-122"/>
              </a:rPr>
              <a:t>大盘**</a:t>
            </a:r>
          </a:p>
        </p:txBody>
      </p:sp>
    </p:spTree>
    <p:extLst>
      <p:ext uri="{BB962C8B-B14F-4D97-AF65-F5344CB8AC3E}">
        <p14:creationId xmlns:p14="http://schemas.microsoft.com/office/powerpoint/2010/main" val="1543633041"/>
      </p:ext>
    </p:extLst>
  </p:cSld>
  <p:clrMapOvr>
    <a:masterClrMapping/>
  </p:clrMapOvr>
  <p:transition spd="slow">
    <p:randomBa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3">
            <a:extLst>
              <a:ext uri="{FF2B5EF4-FFF2-40B4-BE49-F238E27FC236}">
                <a16:creationId xmlns:a16="http://schemas.microsoft.com/office/drawing/2014/main" id="{4E6783CD-696C-4DE1-9C01-1B618187656A}"/>
              </a:ext>
            </a:extLst>
          </p:cNvPr>
          <p:cNvSpPr txBox="1"/>
          <p:nvPr/>
        </p:nvSpPr>
        <p:spPr>
          <a:xfrm>
            <a:off x="1212239" y="517878"/>
            <a:ext cx="6687628"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软件开源模式历经</a:t>
            </a:r>
            <a:r>
              <a:rPr lang="en-US" altLang="zh-CN" sz="3000" i="1" dirty="0">
                <a:solidFill>
                  <a:srgbClr val="445185"/>
                </a:solidFill>
                <a:latin typeface="黑体" panose="02010609060101010101" charset="-122"/>
                <a:ea typeface="黑体" panose="02010609060101010101" charset="-122"/>
              </a:rPr>
              <a:t>4</a:t>
            </a:r>
            <a:r>
              <a:rPr lang="zh-CN" altLang="en-US" sz="3000" i="1" dirty="0">
                <a:solidFill>
                  <a:srgbClr val="445185"/>
                </a:solidFill>
                <a:latin typeface="黑体" panose="02010609060101010101" charset="-122"/>
                <a:ea typeface="黑体" panose="02010609060101010101" charset="-122"/>
              </a:rPr>
              <a:t>次迭代</a:t>
            </a:r>
          </a:p>
        </p:txBody>
      </p:sp>
      <p:sp>
        <p:nvSpPr>
          <p:cNvPr id="3" name="灯片编号占位符 2">
            <a:extLst>
              <a:ext uri="{FF2B5EF4-FFF2-40B4-BE49-F238E27FC236}">
                <a16:creationId xmlns:a16="http://schemas.microsoft.com/office/drawing/2014/main" id="{3831EDD2-3C98-405D-8403-30A02713885C}"/>
              </a:ext>
            </a:extLst>
          </p:cNvPr>
          <p:cNvSpPr>
            <a:spLocks noGrp="1"/>
          </p:cNvSpPr>
          <p:nvPr>
            <p:ph type="sldNum" sz="quarter" idx="12"/>
          </p:nvPr>
        </p:nvSpPr>
        <p:spPr>
          <a:xfrm>
            <a:off x="9089997" y="6356350"/>
            <a:ext cx="2743200" cy="365125"/>
          </a:xfrm>
        </p:spPr>
        <p:txBody>
          <a:bodyPr/>
          <a:lstStyle/>
          <a:p>
            <a:fld id="{65703A48-C316-4AA3-8E4E-4433376E065D}" type="slidenum">
              <a:rPr lang="zh-CN" altLang="en-US" smtClean="0"/>
              <a:t>4</a:t>
            </a:fld>
            <a:endParaRPr lang="zh-CN" altLang="en-US"/>
          </a:p>
        </p:txBody>
      </p:sp>
      <p:sp>
        <p:nvSpPr>
          <p:cNvPr id="161" name="文本框 160">
            <a:extLst>
              <a:ext uri="{FF2B5EF4-FFF2-40B4-BE49-F238E27FC236}">
                <a16:creationId xmlns:a16="http://schemas.microsoft.com/office/drawing/2014/main" id="{A5744409-A6E4-45A0-8AB9-07BB508773C7}"/>
              </a:ext>
            </a:extLst>
          </p:cNvPr>
          <p:cNvSpPr txBox="1"/>
          <p:nvPr/>
        </p:nvSpPr>
        <p:spPr>
          <a:xfrm>
            <a:off x="10475372" y="1168922"/>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创造价值</a:t>
            </a:r>
          </a:p>
        </p:txBody>
      </p:sp>
      <p:sp>
        <p:nvSpPr>
          <p:cNvPr id="162" name="文本框 161">
            <a:extLst>
              <a:ext uri="{FF2B5EF4-FFF2-40B4-BE49-F238E27FC236}">
                <a16:creationId xmlns:a16="http://schemas.microsoft.com/office/drawing/2014/main" id="{178703E1-E8AD-42B1-90D0-B1D33323F522}"/>
              </a:ext>
            </a:extLst>
          </p:cNvPr>
          <p:cNvSpPr txBox="1"/>
          <p:nvPr/>
        </p:nvSpPr>
        <p:spPr>
          <a:xfrm>
            <a:off x="7081442" y="1168922"/>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底层驱动</a:t>
            </a:r>
          </a:p>
        </p:txBody>
      </p:sp>
      <p:sp>
        <p:nvSpPr>
          <p:cNvPr id="163" name="箭头: 右 1">
            <a:extLst>
              <a:ext uri="{FF2B5EF4-FFF2-40B4-BE49-F238E27FC236}">
                <a16:creationId xmlns:a16="http://schemas.microsoft.com/office/drawing/2014/main" id="{11BBF561-A44B-4A34-9928-C616A123A519}"/>
              </a:ext>
            </a:extLst>
          </p:cNvPr>
          <p:cNvSpPr/>
          <p:nvPr/>
        </p:nvSpPr>
        <p:spPr>
          <a:xfrm rot="16200000">
            <a:off x="-846070" y="3570413"/>
            <a:ext cx="5092700" cy="710005"/>
          </a:xfrm>
          <a:custGeom>
            <a:avLst/>
            <a:gdLst>
              <a:gd name="connsiteX0" fmla="*/ 0 w 9827111"/>
              <a:gd name="connsiteY0" fmla="*/ 177501 h 710005"/>
              <a:gd name="connsiteX1" fmla="*/ 9472109 w 9827111"/>
              <a:gd name="connsiteY1" fmla="*/ 177501 h 710005"/>
              <a:gd name="connsiteX2" fmla="*/ 9472109 w 9827111"/>
              <a:gd name="connsiteY2" fmla="*/ 0 h 710005"/>
              <a:gd name="connsiteX3" fmla="*/ 9827111 w 9827111"/>
              <a:gd name="connsiteY3" fmla="*/ 355003 h 710005"/>
              <a:gd name="connsiteX4" fmla="*/ 9472109 w 9827111"/>
              <a:gd name="connsiteY4" fmla="*/ 710005 h 710005"/>
              <a:gd name="connsiteX5" fmla="*/ 9472109 w 9827111"/>
              <a:gd name="connsiteY5" fmla="*/ 532504 h 710005"/>
              <a:gd name="connsiteX6" fmla="*/ 0 w 9827111"/>
              <a:gd name="connsiteY6" fmla="*/ 532504 h 710005"/>
              <a:gd name="connsiteX7" fmla="*/ 0 w 9827111"/>
              <a:gd name="connsiteY7" fmla="*/ 177501 h 710005"/>
              <a:gd name="connsiteX0" fmla="*/ 0 w 9827111"/>
              <a:gd name="connsiteY0" fmla="*/ 532504 h 710005"/>
              <a:gd name="connsiteX1" fmla="*/ 9472109 w 9827111"/>
              <a:gd name="connsiteY1" fmla="*/ 177501 h 710005"/>
              <a:gd name="connsiteX2" fmla="*/ 9472109 w 9827111"/>
              <a:gd name="connsiteY2" fmla="*/ 0 h 710005"/>
              <a:gd name="connsiteX3" fmla="*/ 9827111 w 9827111"/>
              <a:gd name="connsiteY3" fmla="*/ 355003 h 710005"/>
              <a:gd name="connsiteX4" fmla="*/ 9472109 w 9827111"/>
              <a:gd name="connsiteY4" fmla="*/ 710005 h 710005"/>
              <a:gd name="connsiteX5" fmla="*/ 9472109 w 9827111"/>
              <a:gd name="connsiteY5" fmla="*/ 532504 h 710005"/>
              <a:gd name="connsiteX6" fmla="*/ 0 w 9827111"/>
              <a:gd name="connsiteY6" fmla="*/ 532504 h 710005"/>
              <a:gd name="connsiteX0" fmla="*/ 0 w 9923930"/>
              <a:gd name="connsiteY0" fmla="*/ 371139 h 710005"/>
              <a:gd name="connsiteX1" fmla="*/ 9568928 w 9923930"/>
              <a:gd name="connsiteY1" fmla="*/ 177501 h 710005"/>
              <a:gd name="connsiteX2" fmla="*/ 9568928 w 9923930"/>
              <a:gd name="connsiteY2" fmla="*/ 0 h 710005"/>
              <a:gd name="connsiteX3" fmla="*/ 9923930 w 9923930"/>
              <a:gd name="connsiteY3" fmla="*/ 355003 h 710005"/>
              <a:gd name="connsiteX4" fmla="*/ 9568928 w 9923930"/>
              <a:gd name="connsiteY4" fmla="*/ 710005 h 710005"/>
              <a:gd name="connsiteX5" fmla="*/ 9568928 w 9923930"/>
              <a:gd name="connsiteY5" fmla="*/ 532504 h 710005"/>
              <a:gd name="connsiteX6" fmla="*/ 0 w 9923930"/>
              <a:gd name="connsiteY6" fmla="*/ 371139 h 710005"/>
              <a:gd name="connsiteX0" fmla="*/ 0 w 9934688"/>
              <a:gd name="connsiteY0" fmla="*/ 355003 h 710005"/>
              <a:gd name="connsiteX1" fmla="*/ 9579686 w 9934688"/>
              <a:gd name="connsiteY1" fmla="*/ 177501 h 710005"/>
              <a:gd name="connsiteX2" fmla="*/ 9579686 w 9934688"/>
              <a:gd name="connsiteY2" fmla="*/ 0 h 710005"/>
              <a:gd name="connsiteX3" fmla="*/ 9934688 w 9934688"/>
              <a:gd name="connsiteY3" fmla="*/ 355003 h 710005"/>
              <a:gd name="connsiteX4" fmla="*/ 9579686 w 9934688"/>
              <a:gd name="connsiteY4" fmla="*/ 710005 h 710005"/>
              <a:gd name="connsiteX5" fmla="*/ 9579686 w 9934688"/>
              <a:gd name="connsiteY5" fmla="*/ 532504 h 710005"/>
              <a:gd name="connsiteX6" fmla="*/ 0 w 9934688"/>
              <a:gd name="connsiteY6" fmla="*/ 355003 h 710005"/>
              <a:gd name="connsiteX0" fmla="*/ 0 w 9937069"/>
              <a:gd name="connsiteY0" fmla="*/ 349050 h 710005"/>
              <a:gd name="connsiteX1" fmla="*/ 9582067 w 9937069"/>
              <a:gd name="connsiteY1" fmla="*/ 177501 h 710005"/>
              <a:gd name="connsiteX2" fmla="*/ 9582067 w 9937069"/>
              <a:gd name="connsiteY2" fmla="*/ 0 h 710005"/>
              <a:gd name="connsiteX3" fmla="*/ 9937069 w 9937069"/>
              <a:gd name="connsiteY3" fmla="*/ 355003 h 710005"/>
              <a:gd name="connsiteX4" fmla="*/ 9582067 w 9937069"/>
              <a:gd name="connsiteY4" fmla="*/ 710005 h 710005"/>
              <a:gd name="connsiteX5" fmla="*/ 9582067 w 9937069"/>
              <a:gd name="connsiteY5" fmla="*/ 532504 h 710005"/>
              <a:gd name="connsiteX6" fmla="*/ 0 w 9937069"/>
              <a:gd name="connsiteY6" fmla="*/ 349050 h 71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7069" h="710005">
                <a:moveTo>
                  <a:pt x="0" y="349050"/>
                </a:moveTo>
                <a:lnTo>
                  <a:pt x="9582067" y="177501"/>
                </a:lnTo>
                <a:lnTo>
                  <a:pt x="9582067" y="0"/>
                </a:lnTo>
                <a:lnTo>
                  <a:pt x="9937069" y="355003"/>
                </a:lnTo>
                <a:lnTo>
                  <a:pt x="9582067" y="710005"/>
                </a:lnTo>
                <a:lnTo>
                  <a:pt x="9582067" y="532504"/>
                </a:lnTo>
                <a:lnTo>
                  <a:pt x="0" y="34905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zh-CN" altLang="en-US"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167" name="标题 1">
            <a:extLst>
              <a:ext uri="{FF2B5EF4-FFF2-40B4-BE49-F238E27FC236}">
                <a16:creationId xmlns:a16="http://schemas.microsoft.com/office/drawing/2014/main" id="{5A4C0AFB-6499-4FD0-BABC-703DDA6A8522}"/>
              </a:ext>
            </a:extLst>
          </p:cNvPr>
          <p:cNvSpPr txBox="1">
            <a:spLocks/>
          </p:cNvSpPr>
          <p:nvPr/>
        </p:nvSpPr>
        <p:spPr>
          <a:xfrm>
            <a:off x="2239349" y="5294456"/>
            <a:ext cx="2112000" cy="733214"/>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lnSpc>
                <a:spcPct val="150000"/>
              </a:lnSpc>
              <a:defRPr/>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rPr>
              <a:t>开源 </a:t>
            </a:r>
            <a:r>
              <a:rPr lang="en-US" altLang="zh-CN" sz="1600" b="1" dirty="0">
                <a:solidFill>
                  <a:schemeClr val="accent1">
                    <a:lumMod val="60000"/>
                    <a:lumOff val="40000"/>
                  </a:schemeClr>
                </a:solidFill>
                <a:latin typeface="微软雅黑" panose="020B0503020204020204" pitchFamily="34" charset="-122"/>
                <a:ea typeface="微软雅黑" panose="020B0503020204020204" pitchFamily="34" charset="-122"/>
              </a:rPr>
              <a:t>0.0</a:t>
            </a:r>
          </a:p>
          <a:p>
            <a:pPr algn="ctr" defTabSz="609585">
              <a:lnSpc>
                <a:spcPct val="150000"/>
              </a:lnSpc>
              <a:defRPr/>
            </a:pPr>
            <a:r>
              <a:rPr lang="zh-CN" altLang="en-US" sz="1333" b="1" dirty="0">
                <a:solidFill>
                  <a:prstClr val="black"/>
                </a:solidFill>
                <a:latin typeface="微软雅黑" panose="020B0503020204020204" pitchFamily="34" charset="-122"/>
                <a:ea typeface="微软雅黑" panose="020B0503020204020204" pitchFamily="34" charset="-122"/>
              </a:rPr>
              <a:t>自由软件 </a:t>
            </a:r>
            <a:r>
              <a:rPr lang="en-US" altLang="zh-CN" sz="1333" b="1" dirty="0">
                <a:solidFill>
                  <a:prstClr val="black"/>
                </a:solidFill>
                <a:latin typeface="微软雅黑" panose="020B0503020204020204" pitchFamily="34" charset="-122"/>
                <a:ea typeface="微软雅黑" panose="020B0503020204020204" pitchFamily="34" charset="-122"/>
              </a:rPr>
              <a:t>Free Software</a:t>
            </a:r>
          </a:p>
        </p:txBody>
      </p:sp>
      <p:sp>
        <p:nvSpPr>
          <p:cNvPr id="168" name="标题 1">
            <a:extLst>
              <a:ext uri="{FF2B5EF4-FFF2-40B4-BE49-F238E27FC236}">
                <a16:creationId xmlns:a16="http://schemas.microsoft.com/office/drawing/2014/main" id="{F557ABF4-29E4-4440-A446-68D4EFDABE82}"/>
              </a:ext>
            </a:extLst>
          </p:cNvPr>
          <p:cNvSpPr txBox="1">
            <a:spLocks/>
          </p:cNvSpPr>
          <p:nvPr/>
        </p:nvSpPr>
        <p:spPr>
          <a:xfrm>
            <a:off x="2239349" y="4150890"/>
            <a:ext cx="2112000" cy="1013739"/>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lnSpc>
                <a:spcPct val="150000"/>
              </a:lnSpc>
              <a:defRPr/>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rPr>
              <a:t>开源 </a:t>
            </a:r>
            <a:r>
              <a:rPr lang="en-US" altLang="zh-CN" sz="1600" b="1" dirty="0">
                <a:solidFill>
                  <a:schemeClr val="accent1">
                    <a:lumMod val="60000"/>
                    <a:lumOff val="40000"/>
                  </a:schemeClr>
                </a:solidFill>
                <a:latin typeface="微软雅黑" panose="020B0503020204020204" pitchFamily="34" charset="-122"/>
                <a:ea typeface="微软雅黑" panose="020B0503020204020204" pitchFamily="34" charset="-122"/>
              </a:rPr>
              <a:t>1.0</a:t>
            </a:r>
          </a:p>
          <a:p>
            <a:pPr algn="ctr" defTabSz="609585">
              <a:lnSpc>
                <a:spcPct val="150000"/>
              </a:lnSpc>
              <a:defRPr/>
            </a:pPr>
            <a:r>
              <a:rPr lang="zh-CN" altLang="en-US"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支持服务 </a:t>
            </a:r>
            <a:r>
              <a:rPr lang="en-US" altLang="zh-CN"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Support</a:t>
            </a:r>
          </a:p>
          <a:p>
            <a:pPr algn="ctr" defTabSz="609585">
              <a:lnSpc>
                <a:spcPct val="150000"/>
              </a:lnSpc>
              <a:defRPr/>
            </a:pPr>
            <a:r>
              <a:rPr lang="zh-CN" altLang="en-US" sz="1200"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技术支持及咨询服务</a:t>
            </a:r>
          </a:p>
        </p:txBody>
      </p:sp>
      <p:sp>
        <p:nvSpPr>
          <p:cNvPr id="169" name="标题 1">
            <a:extLst>
              <a:ext uri="{FF2B5EF4-FFF2-40B4-BE49-F238E27FC236}">
                <a16:creationId xmlns:a16="http://schemas.microsoft.com/office/drawing/2014/main" id="{1AA9D7D1-7845-4E11-B8F7-121452B7C982}"/>
              </a:ext>
            </a:extLst>
          </p:cNvPr>
          <p:cNvSpPr txBox="1">
            <a:spLocks/>
          </p:cNvSpPr>
          <p:nvPr/>
        </p:nvSpPr>
        <p:spPr>
          <a:xfrm>
            <a:off x="2239349" y="2999663"/>
            <a:ext cx="2112000" cy="1013739"/>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lnSpc>
                <a:spcPct val="150000"/>
              </a:lnSpc>
              <a:defRPr/>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rPr>
              <a:t>开源 </a:t>
            </a:r>
            <a:r>
              <a:rPr lang="en-US" altLang="zh-CN" sz="1600" b="1" dirty="0">
                <a:solidFill>
                  <a:schemeClr val="accent1">
                    <a:lumMod val="60000"/>
                    <a:lumOff val="40000"/>
                  </a:schemeClr>
                </a:solidFill>
                <a:latin typeface="微软雅黑" panose="020B0503020204020204" pitchFamily="34" charset="-122"/>
                <a:ea typeface="微软雅黑" panose="020B0503020204020204" pitchFamily="34" charset="-122"/>
              </a:rPr>
              <a:t>2.0</a:t>
            </a:r>
          </a:p>
          <a:p>
            <a:pPr algn="ctr" defTabSz="609585">
              <a:lnSpc>
                <a:spcPct val="150000"/>
              </a:lnSpc>
              <a:defRPr/>
            </a:pPr>
            <a:r>
              <a:rPr lang="zh-CN" altLang="en-US"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开放核心 </a:t>
            </a:r>
            <a:r>
              <a:rPr lang="en-US" altLang="zh-CN"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Open-Core</a:t>
            </a:r>
          </a:p>
          <a:p>
            <a:pPr algn="ctr" defTabSz="609585">
              <a:lnSpc>
                <a:spcPct val="150000"/>
              </a:lnSpc>
              <a:defRPr/>
            </a:pPr>
            <a:r>
              <a:rPr lang="zh-CN" altLang="en-US" sz="1200"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提供差异化商业版本</a:t>
            </a:r>
            <a:endParaRPr lang="zh-CN" altLang="en-US"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endParaRPr>
          </a:p>
        </p:txBody>
      </p:sp>
      <p:sp>
        <p:nvSpPr>
          <p:cNvPr id="170" name="标题 1">
            <a:extLst>
              <a:ext uri="{FF2B5EF4-FFF2-40B4-BE49-F238E27FC236}">
                <a16:creationId xmlns:a16="http://schemas.microsoft.com/office/drawing/2014/main" id="{EA650428-32A8-4CB1-9D32-3DF235A904BB}"/>
              </a:ext>
            </a:extLst>
          </p:cNvPr>
          <p:cNvSpPr txBox="1">
            <a:spLocks/>
          </p:cNvSpPr>
          <p:nvPr/>
        </p:nvSpPr>
        <p:spPr>
          <a:xfrm>
            <a:off x="2236769" y="1803930"/>
            <a:ext cx="2112000" cy="1013739"/>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lnSpc>
                <a:spcPct val="150000"/>
              </a:lnSpc>
              <a:defRPr/>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cs typeface="阿里巴巴普惠体 B" panose="00020600040101010101" pitchFamily="18" charset="-122"/>
              </a:rPr>
              <a:t>开源 </a:t>
            </a:r>
            <a:r>
              <a:rPr lang="en-US" altLang="zh-CN" sz="1600" b="1" dirty="0">
                <a:solidFill>
                  <a:schemeClr val="accent1">
                    <a:lumMod val="60000"/>
                    <a:lumOff val="40000"/>
                  </a:schemeClr>
                </a:solidFill>
                <a:latin typeface="微软雅黑" panose="020B0503020204020204" pitchFamily="34" charset="-122"/>
                <a:ea typeface="微软雅黑" panose="020B0503020204020204" pitchFamily="34" charset="-122"/>
                <a:cs typeface="阿里巴巴普惠体 B" panose="00020600040101010101" pitchFamily="18" charset="-122"/>
              </a:rPr>
              <a:t>3.0</a:t>
            </a:r>
          </a:p>
          <a:p>
            <a:pPr algn="ctr" defTabSz="609585">
              <a:lnSpc>
                <a:spcPct val="150000"/>
              </a:lnSpc>
              <a:defRPr/>
            </a:pPr>
            <a:r>
              <a:rPr lang="zh-CN" altLang="en-US"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云托管</a:t>
            </a:r>
            <a:r>
              <a:rPr lang="en-US" altLang="zh-CN" sz="1333" b="1"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Cloud Hosting</a:t>
            </a:r>
          </a:p>
          <a:p>
            <a:pPr algn="ctr" defTabSz="609585">
              <a:lnSpc>
                <a:spcPct val="150000"/>
              </a:lnSpc>
              <a:defRPr/>
            </a:pPr>
            <a:r>
              <a:rPr lang="zh-CN" altLang="en-US" sz="1200" dirty="0">
                <a:solidFill>
                  <a:prstClr val="black"/>
                </a:solidFill>
                <a:latin typeface="微软雅黑" panose="020B0503020204020204" pitchFamily="34" charset="-122"/>
                <a:ea typeface="微软雅黑" panose="020B0503020204020204" pitchFamily="34" charset="-122"/>
                <a:cs typeface="阿里巴巴普惠体 B" panose="00020600040101010101" pitchFamily="18" charset="-122"/>
              </a:rPr>
              <a:t>作为服务托管在云上</a:t>
            </a:r>
          </a:p>
        </p:txBody>
      </p:sp>
      <p:sp>
        <p:nvSpPr>
          <p:cNvPr id="172" name="标题 1">
            <a:extLst>
              <a:ext uri="{FF2B5EF4-FFF2-40B4-BE49-F238E27FC236}">
                <a16:creationId xmlns:a16="http://schemas.microsoft.com/office/drawing/2014/main" id="{39568FED-7363-46F8-B72E-200AB00C8BAA}"/>
              </a:ext>
            </a:extLst>
          </p:cNvPr>
          <p:cNvSpPr txBox="1">
            <a:spLocks/>
          </p:cNvSpPr>
          <p:nvPr/>
        </p:nvSpPr>
        <p:spPr>
          <a:xfrm>
            <a:off x="188947" y="5542327"/>
            <a:ext cx="1394224" cy="313932"/>
          </a:xfrm>
          <a:prstGeom prst="rect">
            <a:avLst/>
          </a:prstGeom>
          <a:noFill/>
        </p:spPr>
        <p:txBody>
          <a:bodyPr wrap="square" rtlCol="0">
            <a:spAutoFit/>
          </a:bodyPr>
          <a:lstStyle>
            <a:defPPr>
              <a:defRPr lang="zh-CN"/>
            </a:defPPr>
            <a:lvl1pPr algn="ctr" defTabSz="609585">
              <a:lnSpc>
                <a:spcPct val="90000"/>
              </a:lnSpc>
              <a:spcBef>
                <a:spcPct val="0"/>
              </a:spcBef>
              <a:buNone/>
              <a:defRPr sz="1600" b="1">
                <a:solidFill>
                  <a:schemeClr val="accent1">
                    <a:lumMod val="50000"/>
                  </a:schemeClr>
                </a:solidFill>
                <a:latin typeface="微软雅黑" panose="020B0503020204020204" pitchFamily="34" charset="-122"/>
                <a:ea typeface="微软雅黑" panose="020B0503020204020204" pitchFamily="34" charset="-122"/>
                <a:cs typeface="阿里巴巴普惠体 L" panose="00020600040101010101" pitchFamily="18" charset="-122"/>
              </a:defRPr>
            </a:lvl1pPr>
          </a:lstStyle>
          <a:p>
            <a:r>
              <a:rPr lang="en-US" altLang="zh-CN" dirty="0"/>
              <a:t>1980s-1995</a:t>
            </a:r>
            <a:endParaRPr lang="zh-CN" altLang="en-US" dirty="0"/>
          </a:p>
        </p:txBody>
      </p:sp>
      <p:sp>
        <p:nvSpPr>
          <p:cNvPr id="173" name="标题 1">
            <a:extLst>
              <a:ext uri="{FF2B5EF4-FFF2-40B4-BE49-F238E27FC236}">
                <a16:creationId xmlns:a16="http://schemas.microsoft.com/office/drawing/2014/main" id="{1FC58961-B64B-4083-B133-CDFAA4DA852C}"/>
              </a:ext>
            </a:extLst>
          </p:cNvPr>
          <p:cNvSpPr txBox="1">
            <a:spLocks/>
          </p:cNvSpPr>
          <p:nvPr/>
        </p:nvSpPr>
        <p:spPr>
          <a:xfrm>
            <a:off x="194051" y="4457407"/>
            <a:ext cx="1394224" cy="313932"/>
          </a:xfrm>
          <a:prstGeom prst="rect">
            <a:avLst/>
          </a:prstGeom>
          <a:noFill/>
        </p:spPr>
        <p:txBody>
          <a:bodyPr wrap="square" rtlCol="0">
            <a:spAutoFit/>
          </a:bodyPr>
          <a:lstStyle>
            <a:defPPr>
              <a:defRPr lang="zh-CN"/>
            </a:defPPr>
            <a:lvl1pPr algn="ctr" defTabSz="609585">
              <a:lnSpc>
                <a:spcPct val="90000"/>
              </a:lnSpc>
              <a:spcBef>
                <a:spcPct val="0"/>
              </a:spcBef>
              <a:buNone/>
              <a:defRPr sz="1600" b="1">
                <a:solidFill>
                  <a:schemeClr val="accent1">
                    <a:lumMod val="50000"/>
                  </a:schemeClr>
                </a:solidFill>
                <a:latin typeface="微软雅黑" panose="020B0503020204020204" pitchFamily="34" charset="-122"/>
                <a:ea typeface="微软雅黑" panose="020B0503020204020204" pitchFamily="34" charset="-122"/>
                <a:cs typeface="阿里巴巴普惠体 L" panose="00020600040101010101" pitchFamily="18" charset="-122"/>
              </a:defRPr>
            </a:lvl1pPr>
          </a:lstStyle>
          <a:p>
            <a:r>
              <a:rPr lang="en-US" altLang="zh-CN" dirty="0"/>
              <a:t>1995-2005</a:t>
            </a:r>
            <a:endParaRPr lang="zh-CN" altLang="en-US" dirty="0"/>
          </a:p>
        </p:txBody>
      </p:sp>
      <p:sp>
        <p:nvSpPr>
          <p:cNvPr id="174" name="标题 1">
            <a:extLst>
              <a:ext uri="{FF2B5EF4-FFF2-40B4-BE49-F238E27FC236}">
                <a16:creationId xmlns:a16="http://schemas.microsoft.com/office/drawing/2014/main" id="{FCA5B518-0799-42D4-8575-A36790939A8A}"/>
              </a:ext>
            </a:extLst>
          </p:cNvPr>
          <p:cNvSpPr txBox="1">
            <a:spLocks/>
          </p:cNvSpPr>
          <p:nvPr/>
        </p:nvSpPr>
        <p:spPr>
          <a:xfrm>
            <a:off x="211556" y="3466036"/>
            <a:ext cx="1394224" cy="313932"/>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defRPr/>
            </a:pPr>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2005-2015</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175" name="标题 1">
            <a:extLst>
              <a:ext uri="{FF2B5EF4-FFF2-40B4-BE49-F238E27FC236}">
                <a16:creationId xmlns:a16="http://schemas.microsoft.com/office/drawing/2014/main" id="{9BC4C2A4-6B8A-400B-B27F-BE45C3D72A69}"/>
              </a:ext>
            </a:extLst>
          </p:cNvPr>
          <p:cNvSpPr txBox="1">
            <a:spLocks/>
          </p:cNvSpPr>
          <p:nvPr/>
        </p:nvSpPr>
        <p:spPr>
          <a:xfrm>
            <a:off x="210404" y="2319436"/>
            <a:ext cx="1394224" cy="313932"/>
          </a:xfrm>
          <a:prstGeom prst="rect">
            <a:avLst/>
          </a:prstGeom>
          <a:noFill/>
        </p:spPr>
        <p:txBody>
          <a:bodyPr wrap="square" rtlCol="0">
            <a:spAutoFit/>
          </a:bodyPr>
          <a:lstStyle>
            <a:defPPr>
              <a:defRPr lang="zh-CN"/>
            </a:defPPr>
            <a:lvl1pPr>
              <a:lnSpc>
                <a:spcPct val="90000"/>
              </a:lnSpc>
              <a:spcBef>
                <a:spcPct val="0"/>
              </a:spcBef>
              <a:buNone/>
              <a:defRPr>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algn="ctr" defTabSz="609585">
              <a:defRPr/>
            </a:pPr>
            <a:r>
              <a:rPr lang="en-US" altLang="zh-CN" sz="1600" b="1" dirty="0">
                <a:solidFill>
                  <a:schemeClr val="accent1">
                    <a:lumMod val="50000"/>
                  </a:schemeClr>
                </a:solidFill>
                <a:latin typeface="微软雅黑" panose="020B0503020204020204" pitchFamily="34" charset="-122"/>
                <a:ea typeface="微软雅黑" panose="020B0503020204020204" pitchFamily="34" charset="-122"/>
                <a:cs typeface="阿里巴巴普惠体 B" panose="00020600040101010101" pitchFamily="18" charset="-122"/>
              </a:rPr>
              <a:t>2015-</a:t>
            </a:r>
            <a:r>
              <a:rPr lang="zh-CN" altLang="en-US" sz="1600" b="1" dirty="0">
                <a:solidFill>
                  <a:schemeClr val="accent1">
                    <a:lumMod val="50000"/>
                  </a:schemeClr>
                </a:solidFill>
                <a:latin typeface="微软雅黑" panose="020B0503020204020204" pitchFamily="34" charset="-122"/>
                <a:ea typeface="微软雅黑" panose="020B0503020204020204" pitchFamily="34" charset="-122"/>
                <a:cs typeface="阿里巴巴普惠体 B" panose="00020600040101010101" pitchFamily="18" charset="-122"/>
              </a:rPr>
              <a:t>现在</a:t>
            </a:r>
          </a:p>
        </p:txBody>
      </p:sp>
      <p:cxnSp>
        <p:nvCxnSpPr>
          <p:cNvPr id="176" name="直接连接符 175">
            <a:extLst>
              <a:ext uri="{FF2B5EF4-FFF2-40B4-BE49-F238E27FC236}">
                <a16:creationId xmlns:a16="http://schemas.microsoft.com/office/drawing/2014/main" id="{33A0D58E-313D-4585-989C-6B6FD75511DD}"/>
              </a:ext>
            </a:extLst>
          </p:cNvPr>
          <p:cNvCxnSpPr>
            <a:cxnSpLocks/>
          </p:cNvCxnSpPr>
          <p:nvPr/>
        </p:nvCxnSpPr>
        <p:spPr>
          <a:xfrm>
            <a:off x="2209800" y="2926789"/>
            <a:ext cx="917956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7" name="直接连接符 176">
            <a:extLst>
              <a:ext uri="{FF2B5EF4-FFF2-40B4-BE49-F238E27FC236}">
                <a16:creationId xmlns:a16="http://schemas.microsoft.com/office/drawing/2014/main" id="{1E1E6065-1C87-46A6-8A79-FB6DEEDE443D}"/>
              </a:ext>
            </a:extLst>
          </p:cNvPr>
          <p:cNvCxnSpPr>
            <a:cxnSpLocks/>
          </p:cNvCxnSpPr>
          <p:nvPr/>
        </p:nvCxnSpPr>
        <p:spPr>
          <a:xfrm>
            <a:off x="2209800" y="4100269"/>
            <a:ext cx="917956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8" name="直接连接符 177">
            <a:extLst>
              <a:ext uri="{FF2B5EF4-FFF2-40B4-BE49-F238E27FC236}">
                <a16:creationId xmlns:a16="http://schemas.microsoft.com/office/drawing/2014/main" id="{0A873DB6-3BBC-4126-A829-E14A16CC38E4}"/>
              </a:ext>
            </a:extLst>
          </p:cNvPr>
          <p:cNvCxnSpPr>
            <a:cxnSpLocks/>
          </p:cNvCxnSpPr>
          <p:nvPr/>
        </p:nvCxnSpPr>
        <p:spPr>
          <a:xfrm>
            <a:off x="2209800" y="5273749"/>
            <a:ext cx="917956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pic>
        <p:nvPicPr>
          <p:cNvPr id="179" name="Picture 2" descr=" [GNU头像] ">
            <a:extLst>
              <a:ext uri="{FF2B5EF4-FFF2-40B4-BE49-F238E27FC236}">
                <a16:creationId xmlns:a16="http://schemas.microsoft.com/office/drawing/2014/main" id="{DEF26238-4F9C-4795-B6AA-3A187EA5D5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52874" y="5661712"/>
            <a:ext cx="571500" cy="559676"/>
          </a:xfrm>
          <a:prstGeom prst="rect">
            <a:avLst/>
          </a:prstGeom>
          <a:noFill/>
          <a:extLst>
            <a:ext uri="{909E8E84-426E-40DD-AFC4-6F175D3DCCD1}">
              <a14:hiddenFill xmlns:a14="http://schemas.microsoft.com/office/drawing/2010/main">
                <a:solidFill>
                  <a:srgbClr val="FFFFFF"/>
                </a:solidFill>
              </a14:hiddenFill>
            </a:ext>
          </a:extLst>
        </p:spPr>
      </p:pic>
      <p:sp>
        <p:nvSpPr>
          <p:cNvPr id="180" name="文本框 179">
            <a:extLst>
              <a:ext uri="{FF2B5EF4-FFF2-40B4-BE49-F238E27FC236}">
                <a16:creationId xmlns:a16="http://schemas.microsoft.com/office/drawing/2014/main" id="{4C267C0C-B23B-4AB9-AC98-14BC026D99D0}"/>
              </a:ext>
            </a:extLst>
          </p:cNvPr>
          <p:cNvSpPr txBox="1"/>
          <p:nvPr/>
        </p:nvSpPr>
        <p:spPr>
          <a:xfrm>
            <a:off x="6375134" y="2231375"/>
            <a:ext cx="1257567" cy="318100"/>
          </a:xfrm>
          <a:prstGeom prst="rect">
            <a:avLst/>
          </a:prstGeom>
          <a:noFill/>
        </p:spPr>
        <p:txBody>
          <a:bodyPr wrap="square" rtlCol="0">
            <a:spAutoFit/>
          </a:bodyPr>
          <a:lstStyle/>
          <a:p>
            <a:pPr algn="ctr"/>
            <a:r>
              <a:rPr lang="zh-CN" altLang="en-US" sz="1467" b="1" dirty="0">
                <a:solidFill>
                  <a:schemeClr val="accent1">
                    <a:lumMod val="60000"/>
                    <a:lumOff val="40000"/>
                  </a:schemeClr>
                </a:solidFill>
                <a:latin typeface="微软雅黑" panose="020B0503020204020204" pitchFamily="34" charset="-122"/>
                <a:ea typeface="微软雅黑" panose="020B0503020204020204" pitchFamily="34" charset="-122"/>
              </a:rPr>
              <a:t>公有云</a:t>
            </a:r>
            <a:r>
              <a:rPr lang="zh-CN" altLang="en-US" sz="1333" dirty="0">
                <a:solidFill>
                  <a:prstClr val="black"/>
                </a:solidFill>
                <a:latin typeface="微软雅黑" panose="020B0503020204020204" pitchFamily="34" charset="-122"/>
                <a:ea typeface="微软雅黑" panose="020B0503020204020204" pitchFamily="34" charset="-122"/>
              </a:rPr>
              <a:t>兴起</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181" name="文本框 180">
            <a:extLst>
              <a:ext uri="{FF2B5EF4-FFF2-40B4-BE49-F238E27FC236}">
                <a16:creationId xmlns:a16="http://schemas.microsoft.com/office/drawing/2014/main" id="{D8DECE74-0D81-4647-9F55-02B2167EDEB7}"/>
              </a:ext>
            </a:extLst>
          </p:cNvPr>
          <p:cNvSpPr txBox="1"/>
          <p:nvPr/>
        </p:nvSpPr>
        <p:spPr>
          <a:xfrm>
            <a:off x="4650237" y="1168922"/>
            <a:ext cx="1005403" cy="338554"/>
          </a:xfrm>
          <a:prstGeom prst="rect">
            <a:avLst/>
          </a:prstGeom>
          <a:noFill/>
        </p:spPr>
        <p:txBody>
          <a:bodyPr wrap="none" rtlCol="0">
            <a:spAutoFit/>
          </a:bodyPr>
          <a:lstStyle/>
          <a:p>
            <a:r>
              <a:rPr lang="zh-CN" altLang="en-US" sz="1600" b="1" dirty="0">
                <a:latin typeface="微软雅黑" panose="020B0503020204020204" pitchFamily="34" charset="-122"/>
                <a:ea typeface="微软雅黑" panose="020B0503020204020204" pitchFamily="34" charset="-122"/>
              </a:rPr>
              <a:t>代表案例</a:t>
            </a:r>
          </a:p>
        </p:txBody>
      </p:sp>
      <p:pic>
        <p:nvPicPr>
          <p:cNvPr id="182" name="Picture 44" descr="查看源图像">
            <a:extLst>
              <a:ext uri="{FF2B5EF4-FFF2-40B4-BE49-F238E27FC236}">
                <a16:creationId xmlns:a16="http://schemas.microsoft.com/office/drawing/2014/main" id="{4C793CB0-4113-4D3F-A598-3AA0A75688E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33983" y="4282141"/>
            <a:ext cx="1104700" cy="399303"/>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4" descr="查看源图像">
            <a:extLst>
              <a:ext uri="{FF2B5EF4-FFF2-40B4-BE49-F238E27FC236}">
                <a16:creationId xmlns:a16="http://schemas.microsoft.com/office/drawing/2014/main" id="{20D1E645-0D89-4A4A-8197-FAAB9BA5D60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6191" y="4740438"/>
            <a:ext cx="780283" cy="403552"/>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6" descr="查看源图像">
            <a:extLst>
              <a:ext uri="{FF2B5EF4-FFF2-40B4-BE49-F238E27FC236}">
                <a16:creationId xmlns:a16="http://schemas.microsoft.com/office/drawing/2014/main" id="{8B8B5956-2BF1-4D24-B59F-99ED24B4A0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2701" y="3309067"/>
            <a:ext cx="951843" cy="185907"/>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8" descr="查看源图像">
            <a:extLst>
              <a:ext uri="{FF2B5EF4-FFF2-40B4-BE49-F238E27FC236}">
                <a16:creationId xmlns:a16="http://schemas.microsoft.com/office/drawing/2014/main" id="{DDA1BCF7-D70C-4597-A7B0-CD84C9E4471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80411" y="3705473"/>
            <a:ext cx="1058272" cy="200815"/>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2">
            <a:extLst>
              <a:ext uri="{FF2B5EF4-FFF2-40B4-BE49-F238E27FC236}">
                <a16:creationId xmlns:a16="http://schemas.microsoft.com/office/drawing/2014/main" id="{899CBF01-FCD5-462A-A4B3-385595BE161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9952" y="1910142"/>
            <a:ext cx="789129" cy="393907"/>
          </a:xfrm>
          <a:prstGeom prst="rect">
            <a:avLst/>
          </a:prstGeom>
        </p:spPr>
      </p:pic>
      <p:pic>
        <p:nvPicPr>
          <p:cNvPr id="187" name="Picture 10" descr="查看源图像">
            <a:extLst>
              <a:ext uri="{FF2B5EF4-FFF2-40B4-BE49-F238E27FC236}">
                <a16:creationId xmlns:a16="http://schemas.microsoft.com/office/drawing/2014/main" id="{DBAAEEC1-4B8E-4BBB-A417-352B86E88149}"/>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4861" t="36666" r="15929" b="35170"/>
          <a:stretch/>
        </p:blipFill>
        <p:spPr bwMode="auto">
          <a:xfrm>
            <a:off x="4651247" y="2403274"/>
            <a:ext cx="1174751" cy="358523"/>
          </a:xfrm>
          <a:prstGeom prst="rect">
            <a:avLst/>
          </a:prstGeom>
          <a:noFill/>
          <a:extLst>
            <a:ext uri="{909E8E84-426E-40DD-AFC4-6F175D3DCCD1}">
              <a14:hiddenFill xmlns:a14="http://schemas.microsoft.com/office/drawing/2010/main">
                <a:solidFill>
                  <a:srgbClr val="FFFFFF"/>
                </a:solidFill>
              </a14:hiddenFill>
            </a:ext>
          </a:extLst>
        </p:spPr>
      </p:pic>
      <p:sp>
        <p:nvSpPr>
          <p:cNvPr id="188" name="文本框 187">
            <a:extLst>
              <a:ext uri="{FF2B5EF4-FFF2-40B4-BE49-F238E27FC236}">
                <a16:creationId xmlns:a16="http://schemas.microsoft.com/office/drawing/2014/main" id="{4082E8F0-CA3C-4074-A1AA-2BCB8BE230FD}"/>
              </a:ext>
            </a:extLst>
          </p:cNvPr>
          <p:cNvSpPr txBox="1"/>
          <p:nvPr/>
        </p:nvSpPr>
        <p:spPr>
          <a:xfrm>
            <a:off x="6334384" y="3289615"/>
            <a:ext cx="1339064" cy="502573"/>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软件体系化生态逐渐完善</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189" name="文本框 188">
            <a:extLst>
              <a:ext uri="{FF2B5EF4-FFF2-40B4-BE49-F238E27FC236}">
                <a16:creationId xmlns:a16="http://schemas.microsoft.com/office/drawing/2014/main" id="{6C40FCD7-64E7-4D58-990A-28B83058A67B}"/>
              </a:ext>
            </a:extLst>
          </p:cNvPr>
          <p:cNvSpPr txBox="1"/>
          <p:nvPr/>
        </p:nvSpPr>
        <p:spPr>
          <a:xfrm>
            <a:off x="6334384" y="4436215"/>
            <a:ext cx="1339064" cy="523220"/>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软件越来越</a:t>
            </a:r>
            <a:endParaRPr lang="en-US" altLang="zh-CN" sz="1333" dirty="0">
              <a:solidFill>
                <a:prstClr val="black"/>
              </a:solidFill>
              <a:latin typeface="微软雅黑" panose="020B0503020204020204" pitchFamily="34" charset="-122"/>
              <a:ea typeface="微软雅黑" panose="020B0503020204020204" pitchFamily="34" charset="-122"/>
            </a:endParaRPr>
          </a:p>
          <a:p>
            <a:pPr lvl="0" algn="ctr">
              <a:defRPr/>
            </a:pPr>
            <a:r>
              <a:rPr lang="zh-CN" altLang="en-US" sz="1467" b="1" dirty="0">
                <a:solidFill>
                  <a:schemeClr val="accent1">
                    <a:lumMod val="60000"/>
                    <a:lumOff val="40000"/>
                  </a:schemeClr>
                </a:solidFill>
                <a:latin typeface="微软雅黑" panose="020B0503020204020204" pitchFamily="34" charset="-122"/>
                <a:ea typeface="微软雅黑" panose="020B0503020204020204" pitchFamily="34" charset="-122"/>
              </a:rPr>
              <a:t>复杂和专业</a:t>
            </a:r>
            <a:endParaRPr lang="en-US" altLang="zh-CN" sz="1467"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190" name="文本框 189">
            <a:extLst>
              <a:ext uri="{FF2B5EF4-FFF2-40B4-BE49-F238E27FC236}">
                <a16:creationId xmlns:a16="http://schemas.microsoft.com/office/drawing/2014/main" id="{3AF31683-C384-46D6-B02A-7206D6E63679}"/>
              </a:ext>
            </a:extLst>
          </p:cNvPr>
          <p:cNvSpPr txBox="1"/>
          <p:nvPr/>
        </p:nvSpPr>
        <p:spPr>
          <a:xfrm>
            <a:off x="6603806" y="1570913"/>
            <a:ext cx="800219" cy="338554"/>
          </a:xfrm>
          <a:prstGeom prst="rect">
            <a:avLst/>
          </a:prstGeom>
          <a:noFill/>
        </p:spPr>
        <p:txBody>
          <a:bodyPr wrap="none" rtlCol="0">
            <a:spAutoFit/>
          </a:bodyPr>
          <a:lstStyle/>
          <a:p>
            <a:pPr algn="ctr"/>
            <a:r>
              <a:rPr lang="zh-CN" altLang="en-US" sz="1600" b="1" dirty="0">
                <a:latin typeface="微软雅黑" panose="020B0503020204020204" pitchFamily="34" charset="-122"/>
                <a:ea typeface="微软雅黑" panose="020B0503020204020204" pitchFamily="34" charset="-122"/>
              </a:rPr>
              <a:t>供给侧</a:t>
            </a:r>
          </a:p>
        </p:txBody>
      </p:sp>
      <p:sp>
        <p:nvSpPr>
          <p:cNvPr id="191" name="文本框 190">
            <a:extLst>
              <a:ext uri="{FF2B5EF4-FFF2-40B4-BE49-F238E27FC236}">
                <a16:creationId xmlns:a16="http://schemas.microsoft.com/office/drawing/2014/main" id="{FEC7CAA9-1DD4-4908-8276-C166B3A847CE}"/>
              </a:ext>
            </a:extLst>
          </p:cNvPr>
          <p:cNvSpPr txBox="1"/>
          <p:nvPr/>
        </p:nvSpPr>
        <p:spPr>
          <a:xfrm>
            <a:off x="7899867" y="1570913"/>
            <a:ext cx="960000" cy="338554"/>
          </a:xfrm>
          <a:prstGeom prst="rect">
            <a:avLst/>
          </a:prstGeom>
          <a:noFill/>
        </p:spPr>
        <p:txBody>
          <a:bodyPr wrap="square">
            <a:spAutoFit/>
          </a:bodyPr>
          <a:lstStyle/>
          <a:p>
            <a:pPr algn="ctr"/>
            <a:r>
              <a:rPr lang="zh-CN" altLang="en-US" sz="1600" b="1" dirty="0">
                <a:latin typeface="微软雅黑" panose="020B0503020204020204" pitchFamily="34" charset="-122"/>
                <a:ea typeface="微软雅黑" panose="020B0503020204020204" pitchFamily="34" charset="-122"/>
              </a:rPr>
              <a:t>需求侧</a:t>
            </a:r>
          </a:p>
        </p:txBody>
      </p:sp>
      <p:grpSp>
        <p:nvGrpSpPr>
          <p:cNvPr id="192" name="组合 191">
            <a:extLst>
              <a:ext uri="{FF2B5EF4-FFF2-40B4-BE49-F238E27FC236}">
                <a16:creationId xmlns:a16="http://schemas.microsoft.com/office/drawing/2014/main" id="{8D0B8C42-79AC-480D-B812-8F0F40A0AA85}"/>
              </a:ext>
            </a:extLst>
          </p:cNvPr>
          <p:cNvGrpSpPr/>
          <p:nvPr/>
        </p:nvGrpSpPr>
        <p:grpSpPr>
          <a:xfrm>
            <a:off x="9324187" y="1554187"/>
            <a:ext cx="732891" cy="4956948"/>
            <a:chOff x="6993140" y="1079079"/>
            <a:chExt cx="549668" cy="3717711"/>
          </a:xfrm>
          <a:effectLst>
            <a:outerShdw blurRad="50800" dist="38100" dir="2700000" algn="tl" rotWithShape="0">
              <a:prstClr val="black">
                <a:alpha val="40000"/>
              </a:prstClr>
            </a:outerShdw>
          </a:effectLst>
        </p:grpSpPr>
        <p:sp>
          <p:nvSpPr>
            <p:cNvPr id="193" name="矩形: 圆角 192">
              <a:extLst>
                <a:ext uri="{FF2B5EF4-FFF2-40B4-BE49-F238E27FC236}">
                  <a16:creationId xmlns:a16="http://schemas.microsoft.com/office/drawing/2014/main" id="{849C7C58-7482-4A74-9F33-12600314F6ED}"/>
                </a:ext>
              </a:extLst>
            </p:cNvPr>
            <p:cNvSpPr/>
            <p:nvPr/>
          </p:nvSpPr>
          <p:spPr>
            <a:xfrm>
              <a:off x="6993140" y="1243025"/>
              <a:ext cx="549668" cy="3553765"/>
            </a:xfrm>
            <a:prstGeom prst="roundRect">
              <a:avLst/>
            </a:prstGeom>
            <a:noFill/>
            <a:ln w="762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94" name="矩形: 圆角 193">
              <a:extLst>
                <a:ext uri="{FF2B5EF4-FFF2-40B4-BE49-F238E27FC236}">
                  <a16:creationId xmlns:a16="http://schemas.microsoft.com/office/drawing/2014/main" id="{4AAEBDFB-52D4-4AA2-A0E5-938393D9AE2B}"/>
                </a:ext>
              </a:extLst>
            </p:cNvPr>
            <p:cNvSpPr/>
            <p:nvPr/>
          </p:nvSpPr>
          <p:spPr>
            <a:xfrm>
              <a:off x="7174322" y="1079079"/>
              <a:ext cx="187300" cy="139170"/>
            </a:xfrm>
            <a:prstGeom prst="roundRect">
              <a:avLst/>
            </a:prstGeom>
            <a:solidFill>
              <a:schemeClr val="accent1"/>
            </a:solidFill>
            <a:ln w="762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sp>
        <p:nvSpPr>
          <p:cNvPr id="195" name="文本框 194">
            <a:extLst>
              <a:ext uri="{FF2B5EF4-FFF2-40B4-BE49-F238E27FC236}">
                <a16:creationId xmlns:a16="http://schemas.microsoft.com/office/drawing/2014/main" id="{7FE61C5C-600D-463C-A82A-1A9F5A5747AF}"/>
              </a:ext>
            </a:extLst>
          </p:cNvPr>
          <p:cNvSpPr txBox="1"/>
          <p:nvPr/>
        </p:nvSpPr>
        <p:spPr>
          <a:xfrm>
            <a:off x="7710335" y="5631519"/>
            <a:ext cx="1339064" cy="502573"/>
          </a:xfrm>
          <a:prstGeom prst="rect">
            <a:avLst/>
          </a:prstGeom>
          <a:noFill/>
        </p:spPr>
        <p:txBody>
          <a:bodyPr wrap="square">
            <a:spAutoFit/>
          </a:bodyPr>
          <a:lstStyle/>
          <a:p>
            <a:pPr algn="ctr" defTabSz="609585">
              <a:defRPr/>
            </a:pPr>
            <a:r>
              <a:rPr lang="en-US" altLang="zh-CN" sz="1333" dirty="0">
                <a:solidFill>
                  <a:prstClr val="black"/>
                </a:solidFill>
                <a:latin typeface="微软雅黑" panose="020B0503020204020204" pitchFamily="34" charset="-122"/>
                <a:ea typeface="微软雅黑" panose="020B0503020204020204" pitchFamily="34" charset="-122"/>
              </a:rPr>
              <a:t>Geek</a:t>
            </a:r>
            <a:r>
              <a:rPr lang="zh-CN" altLang="en-US" sz="1333" dirty="0">
                <a:solidFill>
                  <a:prstClr val="black"/>
                </a:solidFill>
                <a:latin typeface="微软雅黑" panose="020B0503020204020204" pitchFamily="34" charset="-122"/>
                <a:ea typeface="微软雅黑" panose="020B0503020204020204" pitchFamily="34" charset="-122"/>
              </a:rPr>
              <a:t>的个性化软件需求</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196" name="文本框 195">
            <a:extLst>
              <a:ext uri="{FF2B5EF4-FFF2-40B4-BE49-F238E27FC236}">
                <a16:creationId xmlns:a16="http://schemas.microsoft.com/office/drawing/2014/main" id="{18AF54BE-23F1-4928-BD63-A3B11EF3EA09}"/>
              </a:ext>
            </a:extLst>
          </p:cNvPr>
          <p:cNvSpPr txBox="1"/>
          <p:nvPr/>
        </p:nvSpPr>
        <p:spPr>
          <a:xfrm>
            <a:off x="6395251" y="5631520"/>
            <a:ext cx="1217331" cy="502573"/>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开发者</a:t>
            </a:r>
            <a:endParaRPr lang="en-US" altLang="zh-CN" sz="1333" dirty="0">
              <a:solidFill>
                <a:prstClr val="black"/>
              </a:solidFill>
              <a:latin typeface="微软雅黑" panose="020B0503020204020204" pitchFamily="34" charset="-122"/>
              <a:ea typeface="微软雅黑" panose="020B0503020204020204" pitchFamily="34" charset="-122"/>
            </a:endParaRPr>
          </a:p>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个人爱好</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197" name="文本框 196">
            <a:extLst>
              <a:ext uri="{FF2B5EF4-FFF2-40B4-BE49-F238E27FC236}">
                <a16:creationId xmlns:a16="http://schemas.microsoft.com/office/drawing/2014/main" id="{604BE138-D727-4C7A-B17A-94823B1FEBE4}"/>
              </a:ext>
            </a:extLst>
          </p:cNvPr>
          <p:cNvSpPr txBox="1"/>
          <p:nvPr/>
        </p:nvSpPr>
        <p:spPr>
          <a:xfrm>
            <a:off x="7710335" y="4222854"/>
            <a:ext cx="1339064" cy="954107"/>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用户对软件稳定性需求提升，需要专业的</a:t>
            </a:r>
            <a:r>
              <a:rPr lang="zh-CN" altLang="en-US" sz="1467" b="1" dirty="0">
                <a:solidFill>
                  <a:schemeClr val="accent1">
                    <a:lumMod val="60000"/>
                    <a:lumOff val="40000"/>
                  </a:schemeClr>
                </a:solidFill>
                <a:latin typeface="微软雅黑" panose="020B0503020204020204" pitchFamily="34" charset="-122"/>
                <a:ea typeface="微软雅黑" panose="020B0503020204020204" pitchFamily="34" charset="-122"/>
              </a:rPr>
              <a:t>技术支持</a:t>
            </a:r>
            <a:endParaRPr lang="en-US" altLang="zh-CN" sz="1467"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198" name="文本框 197">
            <a:extLst>
              <a:ext uri="{FF2B5EF4-FFF2-40B4-BE49-F238E27FC236}">
                <a16:creationId xmlns:a16="http://schemas.microsoft.com/office/drawing/2014/main" id="{5B820617-8BB0-4F7D-9708-7B5F0BE7C074}"/>
              </a:ext>
            </a:extLst>
          </p:cNvPr>
          <p:cNvSpPr txBox="1"/>
          <p:nvPr/>
        </p:nvSpPr>
        <p:spPr>
          <a:xfrm>
            <a:off x="7707805" y="3113723"/>
            <a:ext cx="1339064" cy="954107"/>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用户对软件易用性需求提升，需要完善的</a:t>
            </a:r>
            <a:r>
              <a:rPr lang="zh-CN" altLang="en-US" sz="1467" b="1" dirty="0">
                <a:solidFill>
                  <a:schemeClr val="accent1">
                    <a:lumMod val="60000"/>
                    <a:lumOff val="40000"/>
                  </a:schemeClr>
                </a:solidFill>
                <a:latin typeface="微软雅黑" panose="020B0503020204020204" pitchFamily="34" charset="-122"/>
                <a:ea typeface="微软雅黑" panose="020B0503020204020204" pitchFamily="34" charset="-122"/>
              </a:rPr>
              <a:t>解决方案</a:t>
            </a:r>
            <a:endParaRPr lang="en-US" altLang="zh-CN" sz="1467"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199" name="文本框 198">
            <a:extLst>
              <a:ext uri="{FF2B5EF4-FFF2-40B4-BE49-F238E27FC236}">
                <a16:creationId xmlns:a16="http://schemas.microsoft.com/office/drawing/2014/main" id="{93731169-7C87-4D28-8760-E5AA0F0EDDB2}"/>
              </a:ext>
            </a:extLst>
          </p:cNvPr>
          <p:cNvSpPr txBox="1"/>
          <p:nvPr/>
        </p:nvSpPr>
        <p:spPr>
          <a:xfrm>
            <a:off x="7707805" y="2127178"/>
            <a:ext cx="1339064" cy="502573"/>
          </a:xfrm>
          <a:prstGeom prst="rect">
            <a:avLst/>
          </a:prstGeom>
          <a:noFill/>
        </p:spPr>
        <p:txBody>
          <a:bodyPr wrap="square">
            <a:spAutoFit/>
          </a:bodyPr>
          <a:lstStyle/>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快速弹性</a:t>
            </a:r>
            <a:endParaRPr lang="en-US" altLang="zh-CN" sz="1333" dirty="0">
              <a:solidFill>
                <a:prstClr val="black"/>
              </a:solidFill>
              <a:latin typeface="微软雅黑" panose="020B0503020204020204" pitchFamily="34" charset="-122"/>
              <a:ea typeface="微软雅黑" panose="020B0503020204020204" pitchFamily="34" charset="-122"/>
            </a:endParaRPr>
          </a:p>
          <a:p>
            <a:pPr algn="ctr" defTabSz="609585">
              <a:defRPr/>
            </a:pPr>
            <a:r>
              <a:rPr lang="zh-CN" altLang="en-US" sz="1333" dirty="0">
                <a:solidFill>
                  <a:prstClr val="black"/>
                </a:solidFill>
                <a:latin typeface="微软雅黑" panose="020B0503020204020204" pitchFamily="34" charset="-122"/>
                <a:ea typeface="微软雅黑" panose="020B0503020204020204" pitchFamily="34" charset="-122"/>
              </a:rPr>
              <a:t>降低运维成本</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200" name="文本框 199">
            <a:extLst>
              <a:ext uri="{FF2B5EF4-FFF2-40B4-BE49-F238E27FC236}">
                <a16:creationId xmlns:a16="http://schemas.microsoft.com/office/drawing/2014/main" id="{2557CB67-ECBC-4082-B551-1384B1B010A8}"/>
              </a:ext>
            </a:extLst>
          </p:cNvPr>
          <p:cNvSpPr txBox="1"/>
          <p:nvPr/>
        </p:nvSpPr>
        <p:spPr>
          <a:xfrm>
            <a:off x="10220137" y="5624158"/>
            <a:ext cx="1339064" cy="502573"/>
          </a:xfrm>
          <a:prstGeom prst="rect">
            <a:avLst/>
          </a:prstGeom>
          <a:noFill/>
        </p:spPr>
        <p:txBody>
          <a:bodyPr wrap="square">
            <a:spAutoFit/>
          </a:bodyPr>
          <a:lstStyle/>
          <a:p>
            <a:pPr defTabSz="609585">
              <a:defRPr/>
            </a:pPr>
            <a:r>
              <a:rPr lang="zh-CN" altLang="en-US" sz="1333" dirty="0">
                <a:solidFill>
                  <a:prstClr val="black"/>
                </a:solidFill>
                <a:latin typeface="微软雅黑" panose="020B0503020204020204" pitchFamily="34" charset="-122"/>
                <a:ea typeface="微软雅黑" panose="020B0503020204020204" pitchFamily="34" charset="-122"/>
              </a:rPr>
              <a:t>自由可定制的软件</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201" name="任意多边形: 形状 200">
            <a:extLst>
              <a:ext uri="{FF2B5EF4-FFF2-40B4-BE49-F238E27FC236}">
                <a16:creationId xmlns:a16="http://schemas.microsoft.com/office/drawing/2014/main" id="{61BAE6EA-34A2-44C2-834A-3639359C77AD}"/>
              </a:ext>
            </a:extLst>
          </p:cNvPr>
          <p:cNvSpPr/>
          <p:nvPr/>
        </p:nvSpPr>
        <p:spPr>
          <a:xfrm>
            <a:off x="9576476" y="5593621"/>
            <a:ext cx="242569" cy="609277"/>
          </a:xfrm>
          <a:custGeom>
            <a:avLst/>
            <a:gdLst>
              <a:gd name="connsiteX0" fmla="*/ 152400 w 181927"/>
              <a:gd name="connsiteY0" fmla="*/ 0 h 456958"/>
              <a:gd name="connsiteX1" fmla="*/ 38100 w 181927"/>
              <a:gd name="connsiteY1" fmla="*/ 0 h 456958"/>
              <a:gd name="connsiteX2" fmla="*/ 0 w 181927"/>
              <a:gd name="connsiteY2" fmla="*/ 238125 h 456958"/>
              <a:gd name="connsiteX3" fmla="*/ 78105 w 181927"/>
              <a:gd name="connsiteY3" fmla="*/ 238125 h 456958"/>
              <a:gd name="connsiteX4" fmla="*/ 24136 w 181927"/>
              <a:gd name="connsiteY4" fmla="*/ 456829 h 456958"/>
              <a:gd name="connsiteX5" fmla="*/ 24193 w 181927"/>
              <a:gd name="connsiteY5" fmla="*/ 456952 h 456958"/>
              <a:gd name="connsiteX6" fmla="*/ 24317 w 181927"/>
              <a:gd name="connsiteY6" fmla="*/ 456895 h 456958"/>
              <a:gd name="connsiteX7" fmla="*/ 181927 w 181927"/>
              <a:gd name="connsiteY7" fmla="*/ 180975 h 456958"/>
              <a:gd name="connsiteX8" fmla="*/ 101917 w 181927"/>
              <a:gd name="connsiteY8" fmla="*/ 180975 h 456958"/>
              <a:gd name="connsiteX9" fmla="*/ 149133 w 181927"/>
              <a:gd name="connsiteY9" fmla="*/ 200025 h 456958"/>
              <a:gd name="connsiteX10" fmla="*/ 75448 w 181927"/>
              <a:gd name="connsiteY10" fmla="*/ 329184 h 456958"/>
              <a:gd name="connsiteX11" fmla="*/ 75276 w 181927"/>
              <a:gd name="connsiteY11" fmla="*/ 329117 h 456958"/>
              <a:gd name="connsiteX12" fmla="*/ 96603 w 181927"/>
              <a:gd name="connsiteY12" fmla="*/ 242687 h 456958"/>
              <a:gd name="connsiteX13" fmla="*/ 102432 w 181927"/>
              <a:gd name="connsiteY13" fmla="*/ 219075 h 456958"/>
              <a:gd name="connsiteX14" fmla="*/ 22336 w 181927"/>
              <a:gd name="connsiteY14" fmla="*/ 219075 h 456958"/>
              <a:gd name="connsiteX15" fmla="*/ 54340 w 181927"/>
              <a:gd name="connsiteY15" fmla="*/ 19050 h 456958"/>
              <a:gd name="connsiteX16" fmla="*/ 127311 w 181927"/>
              <a:gd name="connsiteY16" fmla="*/ 19050 h 456958"/>
              <a:gd name="connsiteX17" fmla="*/ 83572 w 181927"/>
              <a:gd name="connsiteY17" fmla="*/ 175860 h 456958"/>
              <a:gd name="connsiteX18" fmla="*/ 76829 w 181927"/>
              <a:gd name="connsiteY18" fmla="*/ 200025 h 456958"/>
              <a:gd name="connsiteX19" fmla="*/ 149133 w 181927"/>
              <a:gd name="connsiteY19" fmla="*/ 200025 h 45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1927" h="456958">
                <a:moveTo>
                  <a:pt x="152400" y="0"/>
                </a:moveTo>
                <a:lnTo>
                  <a:pt x="38100" y="0"/>
                </a:lnTo>
                <a:lnTo>
                  <a:pt x="0" y="238125"/>
                </a:lnTo>
                <a:lnTo>
                  <a:pt x="78105" y="238125"/>
                </a:lnTo>
                <a:lnTo>
                  <a:pt x="24136" y="456829"/>
                </a:lnTo>
                <a:cubicBezTo>
                  <a:pt x="24118" y="456878"/>
                  <a:pt x="24143" y="456934"/>
                  <a:pt x="24193" y="456952"/>
                </a:cubicBezTo>
                <a:cubicBezTo>
                  <a:pt x="24243" y="456970"/>
                  <a:pt x="24299" y="456945"/>
                  <a:pt x="24317" y="456895"/>
                </a:cubicBezTo>
                <a:lnTo>
                  <a:pt x="181927" y="180975"/>
                </a:lnTo>
                <a:lnTo>
                  <a:pt x="101917" y="180975"/>
                </a:lnTo>
                <a:close/>
                <a:moveTo>
                  <a:pt x="149133" y="200025"/>
                </a:moveTo>
                <a:lnTo>
                  <a:pt x="75448" y="329184"/>
                </a:lnTo>
                <a:cubicBezTo>
                  <a:pt x="75267" y="329517"/>
                  <a:pt x="75181" y="329479"/>
                  <a:pt x="75276" y="329117"/>
                </a:cubicBezTo>
                <a:lnTo>
                  <a:pt x="96603" y="242687"/>
                </a:lnTo>
                <a:lnTo>
                  <a:pt x="102432" y="219075"/>
                </a:lnTo>
                <a:lnTo>
                  <a:pt x="22336" y="219075"/>
                </a:lnTo>
                <a:lnTo>
                  <a:pt x="54340" y="19050"/>
                </a:lnTo>
                <a:lnTo>
                  <a:pt x="127311" y="19050"/>
                </a:lnTo>
                <a:lnTo>
                  <a:pt x="83572" y="175860"/>
                </a:lnTo>
                <a:lnTo>
                  <a:pt x="76829" y="200025"/>
                </a:lnTo>
                <a:lnTo>
                  <a:pt x="149133" y="200025"/>
                </a:lnTo>
                <a:close/>
              </a:path>
            </a:pathLst>
          </a:custGeom>
          <a:solidFill>
            <a:schemeClr val="accent5"/>
          </a:solidFill>
          <a:ln w="76200">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02" name="任意多边形: 形状 201">
            <a:extLst>
              <a:ext uri="{FF2B5EF4-FFF2-40B4-BE49-F238E27FC236}">
                <a16:creationId xmlns:a16="http://schemas.microsoft.com/office/drawing/2014/main" id="{0AD50A43-F76F-43DD-AD18-973A836403F6}"/>
              </a:ext>
            </a:extLst>
          </p:cNvPr>
          <p:cNvSpPr/>
          <p:nvPr/>
        </p:nvSpPr>
        <p:spPr>
          <a:xfrm>
            <a:off x="9572928" y="4435800"/>
            <a:ext cx="242569" cy="609277"/>
          </a:xfrm>
          <a:custGeom>
            <a:avLst/>
            <a:gdLst>
              <a:gd name="connsiteX0" fmla="*/ 152400 w 181927"/>
              <a:gd name="connsiteY0" fmla="*/ 0 h 456958"/>
              <a:gd name="connsiteX1" fmla="*/ 38100 w 181927"/>
              <a:gd name="connsiteY1" fmla="*/ 0 h 456958"/>
              <a:gd name="connsiteX2" fmla="*/ 0 w 181927"/>
              <a:gd name="connsiteY2" fmla="*/ 238125 h 456958"/>
              <a:gd name="connsiteX3" fmla="*/ 78105 w 181927"/>
              <a:gd name="connsiteY3" fmla="*/ 238125 h 456958"/>
              <a:gd name="connsiteX4" fmla="*/ 24136 w 181927"/>
              <a:gd name="connsiteY4" fmla="*/ 456829 h 456958"/>
              <a:gd name="connsiteX5" fmla="*/ 24193 w 181927"/>
              <a:gd name="connsiteY5" fmla="*/ 456952 h 456958"/>
              <a:gd name="connsiteX6" fmla="*/ 24317 w 181927"/>
              <a:gd name="connsiteY6" fmla="*/ 456895 h 456958"/>
              <a:gd name="connsiteX7" fmla="*/ 181927 w 181927"/>
              <a:gd name="connsiteY7" fmla="*/ 180975 h 456958"/>
              <a:gd name="connsiteX8" fmla="*/ 101917 w 181927"/>
              <a:gd name="connsiteY8" fmla="*/ 180975 h 456958"/>
              <a:gd name="connsiteX9" fmla="*/ 149133 w 181927"/>
              <a:gd name="connsiteY9" fmla="*/ 200025 h 456958"/>
              <a:gd name="connsiteX10" fmla="*/ 75448 w 181927"/>
              <a:gd name="connsiteY10" fmla="*/ 329184 h 456958"/>
              <a:gd name="connsiteX11" fmla="*/ 75276 w 181927"/>
              <a:gd name="connsiteY11" fmla="*/ 329117 h 456958"/>
              <a:gd name="connsiteX12" fmla="*/ 96603 w 181927"/>
              <a:gd name="connsiteY12" fmla="*/ 242687 h 456958"/>
              <a:gd name="connsiteX13" fmla="*/ 102432 w 181927"/>
              <a:gd name="connsiteY13" fmla="*/ 219075 h 456958"/>
              <a:gd name="connsiteX14" fmla="*/ 22336 w 181927"/>
              <a:gd name="connsiteY14" fmla="*/ 219075 h 456958"/>
              <a:gd name="connsiteX15" fmla="*/ 54340 w 181927"/>
              <a:gd name="connsiteY15" fmla="*/ 19050 h 456958"/>
              <a:gd name="connsiteX16" fmla="*/ 127311 w 181927"/>
              <a:gd name="connsiteY16" fmla="*/ 19050 h 456958"/>
              <a:gd name="connsiteX17" fmla="*/ 83572 w 181927"/>
              <a:gd name="connsiteY17" fmla="*/ 175860 h 456958"/>
              <a:gd name="connsiteX18" fmla="*/ 76829 w 181927"/>
              <a:gd name="connsiteY18" fmla="*/ 200025 h 456958"/>
              <a:gd name="connsiteX19" fmla="*/ 149133 w 181927"/>
              <a:gd name="connsiteY19" fmla="*/ 200025 h 45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1927" h="456958">
                <a:moveTo>
                  <a:pt x="152400" y="0"/>
                </a:moveTo>
                <a:lnTo>
                  <a:pt x="38100" y="0"/>
                </a:lnTo>
                <a:lnTo>
                  <a:pt x="0" y="238125"/>
                </a:lnTo>
                <a:lnTo>
                  <a:pt x="78105" y="238125"/>
                </a:lnTo>
                <a:lnTo>
                  <a:pt x="24136" y="456829"/>
                </a:lnTo>
                <a:cubicBezTo>
                  <a:pt x="24118" y="456878"/>
                  <a:pt x="24143" y="456934"/>
                  <a:pt x="24193" y="456952"/>
                </a:cubicBezTo>
                <a:cubicBezTo>
                  <a:pt x="24243" y="456970"/>
                  <a:pt x="24299" y="456945"/>
                  <a:pt x="24317" y="456895"/>
                </a:cubicBezTo>
                <a:lnTo>
                  <a:pt x="181927" y="180975"/>
                </a:lnTo>
                <a:lnTo>
                  <a:pt x="101917" y="180975"/>
                </a:lnTo>
                <a:close/>
                <a:moveTo>
                  <a:pt x="149133" y="200025"/>
                </a:moveTo>
                <a:lnTo>
                  <a:pt x="75448" y="329184"/>
                </a:lnTo>
                <a:cubicBezTo>
                  <a:pt x="75267" y="329517"/>
                  <a:pt x="75181" y="329479"/>
                  <a:pt x="75276" y="329117"/>
                </a:cubicBezTo>
                <a:lnTo>
                  <a:pt x="96603" y="242687"/>
                </a:lnTo>
                <a:lnTo>
                  <a:pt x="102432" y="219075"/>
                </a:lnTo>
                <a:lnTo>
                  <a:pt x="22336" y="219075"/>
                </a:lnTo>
                <a:lnTo>
                  <a:pt x="54340" y="19050"/>
                </a:lnTo>
                <a:lnTo>
                  <a:pt x="127311" y="19050"/>
                </a:lnTo>
                <a:lnTo>
                  <a:pt x="83572" y="175860"/>
                </a:lnTo>
                <a:lnTo>
                  <a:pt x="76829" y="200025"/>
                </a:lnTo>
                <a:lnTo>
                  <a:pt x="149133" y="200025"/>
                </a:lnTo>
                <a:close/>
              </a:path>
            </a:pathLst>
          </a:custGeom>
          <a:solidFill>
            <a:schemeClr val="accent5"/>
          </a:solidFill>
          <a:ln w="76200">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03" name="任意多边形: 形状 202">
            <a:extLst>
              <a:ext uri="{FF2B5EF4-FFF2-40B4-BE49-F238E27FC236}">
                <a16:creationId xmlns:a16="http://schemas.microsoft.com/office/drawing/2014/main" id="{657D07C6-56AD-4464-9009-6CB6C3234B6D}"/>
              </a:ext>
            </a:extLst>
          </p:cNvPr>
          <p:cNvSpPr/>
          <p:nvPr/>
        </p:nvSpPr>
        <p:spPr>
          <a:xfrm>
            <a:off x="9571104" y="3262320"/>
            <a:ext cx="242569" cy="609277"/>
          </a:xfrm>
          <a:custGeom>
            <a:avLst/>
            <a:gdLst>
              <a:gd name="connsiteX0" fmla="*/ 152400 w 181927"/>
              <a:gd name="connsiteY0" fmla="*/ 0 h 456958"/>
              <a:gd name="connsiteX1" fmla="*/ 38100 w 181927"/>
              <a:gd name="connsiteY1" fmla="*/ 0 h 456958"/>
              <a:gd name="connsiteX2" fmla="*/ 0 w 181927"/>
              <a:gd name="connsiteY2" fmla="*/ 238125 h 456958"/>
              <a:gd name="connsiteX3" fmla="*/ 78105 w 181927"/>
              <a:gd name="connsiteY3" fmla="*/ 238125 h 456958"/>
              <a:gd name="connsiteX4" fmla="*/ 24136 w 181927"/>
              <a:gd name="connsiteY4" fmla="*/ 456829 h 456958"/>
              <a:gd name="connsiteX5" fmla="*/ 24193 w 181927"/>
              <a:gd name="connsiteY5" fmla="*/ 456952 h 456958"/>
              <a:gd name="connsiteX6" fmla="*/ 24317 w 181927"/>
              <a:gd name="connsiteY6" fmla="*/ 456895 h 456958"/>
              <a:gd name="connsiteX7" fmla="*/ 181927 w 181927"/>
              <a:gd name="connsiteY7" fmla="*/ 180975 h 456958"/>
              <a:gd name="connsiteX8" fmla="*/ 101917 w 181927"/>
              <a:gd name="connsiteY8" fmla="*/ 180975 h 456958"/>
              <a:gd name="connsiteX9" fmla="*/ 149133 w 181927"/>
              <a:gd name="connsiteY9" fmla="*/ 200025 h 456958"/>
              <a:gd name="connsiteX10" fmla="*/ 75448 w 181927"/>
              <a:gd name="connsiteY10" fmla="*/ 329184 h 456958"/>
              <a:gd name="connsiteX11" fmla="*/ 75276 w 181927"/>
              <a:gd name="connsiteY11" fmla="*/ 329117 h 456958"/>
              <a:gd name="connsiteX12" fmla="*/ 96603 w 181927"/>
              <a:gd name="connsiteY12" fmla="*/ 242687 h 456958"/>
              <a:gd name="connsiteX13" fmla="*/ 102432 w 181927"/>
              <a:gd name="connsiteY13" fmla="*/ 219075 h 456958"/>
              <a:gd name="connsiteX14" fmla="*/ 22336 w 181927"/>
              <a:gd name="connsiteY14" fmla="*/ 219075 h 456958"/>
              <a:gd name="connsiteX15" fmla="*/ 54340 w 181927"/>
              <a:gd name="connsiteY15" fmla="*/ 19050 h 456958"/>
              <a:gd name="connsiteX16" fmla="*/ 127311 w 181927"/>
              <a:gd name="connsiteY16" fmla="*/ 19050 h 456958"/>
              <a:gd name="connsiteX17" fmla="*/ 83572 w 181927"/>
              <a:gd name="connsiteY17" fmla="*/ 175860 h 456958"/>
              <a:gd name="connsiteX18" fmla="*/ 76829 w 181927"/>
              <a:gd name="connsiteY18" fmla="*/ 200025 h 456958"/>
              <a:gd name="connsiteX19" fmla="*/ 149133 w 181927"/>
              <a:gd name="connsiteY19" fmla="*/ 200025 h 45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1927" h="456958">
                <a:moveTo>
                  <a:pt x="152400" y="0"/>
                </a:moveTo>
                <a:lnTo>
                  <a:pt x="38100" y="0"/>
                </a:lnTo>
                <a:lnTo>
                  <a:pt x="0" y="238125"/>
                </a:lnTo>
                <a:lnTo>
                  <a:pt x="78105" y="238125"/>
                </a:lnTo>
                <a:lnTo>
                  <a:pt x="24136" y="456829"/>
                </a:lnTo>
                <a:cubicBezTo>
                  <a:pt x="24118" y="456878"/>
                  <a:pt x="24143" y="456934"/>
                  <a:pt x="24193" y="456952"/>
                </a:cubicBezTo>
                <a:cubicBezTo>
                  <a:pt x="24243" y="456970"/>
                  <a:pt x="24299" y="456945"/>
                  <a:pt x="24317" y="456895"/>
                </a:cubicBezTo>
                <a:lnTo>
                  <a:pt x="181927" y="180975"/>
                </a:lnTo>
                <a:lnTo>
                  <a:pt x="101917" y="180975"/>
                </a:lnTo>
                <a:close/>
                <a:moveTo>
                  <a:pt x="149133" y="200025"/>
                </a:moveTo>
                <a:lnTo>
                  <a:pt x="75448" y="329184"/>
                </a:lnTo>
                <a:cubicBezTo>
                  <a:pt x="75267" y="329517"/>
                  <a:pt x="75181" y="329479"/>
                  <a:pt x="75276" y="329117"/>
                </a:cubicBezTo>
                <a:lnTo>
                  <a:pt x="96603" y="242687"/>
                </a:lnTo>
                <a:lnTo>
                  <a:pt x="102432" y="219075"/>
                </a:lnTo>
                <a:lnTo>
                  <a:pt x="22336" y="219075"/>
                </a:lnTo>
                <a:lnTo>
                  <a:pt x="54340" y="19050"/>
                </a:lnTo>
                <a:lnTo>
                  <a:pt x="127311" y="19050"/>
                </a:lnTo>
                <a:lnTo>
                  <a:pt x="83572" y="175860"/>
                </a:lnTo>
                <a:lnTo>
                  <a:pt x="76829" y="200025"/>
                </a:lnTo>
                <a:lnTo>
                  <a:pt x="149133" y="200025"/>
                </a:lnTo>
                <a:close/>
              </a:path>
            </a:pathLst>
          </a:custGeom>
          <a:solidFill>
            <a:schemeClr val="accent5"/>
          </a:solidFill>
          <a:ln w="76200">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04" name="任意多边形: 形状 203">
            <a:extLst>
              <a:ext uri="{FF2B5EF4-FFF2-40B4-BE49-F238E27FC236}">
                <a16:creationId xmlns:a16="http://schemas.microsoft.com/office/drawing/2014/main" id="{00F2D3F8-DF94-4A8C-851F-63873B097592}"/>
              </a:ext>
            </a:extLst>
          </p:cNvPr>
          <p:cNvSpPr/>
          <p:nvPr/>
        </p:nvSpPr>
        <p:spPr>
          <a:xfrm>
            <a:off x="9576476" y="2148106"/>
            <a:ext cx="242569" cy="609277"/>
          </a:xfrm>
          <a:custGeom>
            <a:avLst/>
            <a:gdLst>
              <a:gd name="connsiteX0" fmla="*/ 152400 w 181927"/>
              <a:gd name="connsiteY0" fmla="*/ 0 h 456958"/>
              <a:gd name="connsiteX1" fmla="*/ 38100 w 181927"/>
              <a:gd name="connsiteY1" fmla="*/ 0 h 456958"/>
              <a:gd name="connsiteX2" fmla="*/ 0 w 181927"/>
              <a:gd name="connsiteY2" fmla="*/ 238125 h 456958"/>
              <a:gd name="connsiteX3" fmla="*/ 78105 w 181927"/>
              <a:gd name="connsiteY3" fmla="*/ 238125 h 456958"/>
              <a:gd name="connsiteX4" fmla="*/ 24136 w 181927"/>
              <a:gd name="connsiteY4" fmla="*/ 456829 h 456958"/>
              <a:gd name="connsiteX5" fmla="*/ 24193 w 181927"/>
              <a:gd name="connsiteY5" fmla="*/ 456952 h 456958"/>
              <a:gd name="connsiteX6" fmla="*/ 24317 w 181927"/>
              <a:gd name="connsiteY6" fmla="*/ 456895 h 456958"/>
              <a:gd name="connsiteX7" fmla="*/ 181927 w 181927"/>
              <a:gd name="connsiteY7" fmla="*/ 180975 h 456958"/>
              <a:gd name="connsiteX8" fmla="*/ 101917 w 181927"/>
              <a:gd name="connsiteY8" fmla="*/ 180975 h 456958"/>
              <a:gd name="connsiteX9" fmla="*/ 149133 w 181927"/>
              <a:gd name="connsiteY9" fmla="*/ 200025 h 456958"/>
              <a:gd name="connsiteX10" fmla="*/ 75448 w 181927"/>
              <a:gd name="connsiteY10" fmla="*/ 329184 h 456958"/>
              <a:gd name="connsiteX11" fmla="*/ 75276 w 181927"/>
              <a:gd name="connsiteY11" fmla="*/ 329117 h 456958"/>
              <a:gd name="connsiteX12" fmla="*/ 96603 w 181927"/>
              <a:gd name="connsiteY12" fmla="*/ 242687 h 456958"/>
              <a:gd name="connsiteX13" fmla="*/ 102432 w 181927"/>
              <a:gd name="connsiteY13" fmla="*/ 219075 h 456958"/>
              <a:gd name="connsiteX14" fmla="*/ 22336 w 181927"/>
              <a:gd name="connsiteY14" fmla="*/ 219075 h 456958"/>
              <a:gd name="connsiteX15" fmla="*/ 54340 w 181927"/>
              <a:gd name="connsiteY15" fmla="*/ 19050 h 456958"/>
              <a:gd name="connsiteX16" fmla="*/ 127311 w 181927"/>
              <a:gd name="connsiteY16" fmla="*/ 19050 h 456958"/>
              <a:gd name="connsiteX17" fmla="*/ 83572 w 181927"/>
              <a:gd name="connsiteY17" fmla="*/ 175860 h 456958"/>
              <a:gd name="connsiteX18" fmla="*/ 76829 w 181927"/>
              <a:gd name="connsiteY18" fmla="*/ 200025 h 456958"/>
              <a:gd name="connsiteX19" fmla="*/ 149133 w 181927"/>
              <a:gd name="connsiteY19" fmla="*/ 200025 h 45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1927" h="456958">
                <a:moveTo>
                  <a:pt x="152400" y="0"/>
                </a:moveTo>
                <a:lnTo>
                  <a:pt x="38100" y="0"/>
                </a:lnTo>
                <a:lnTo>
                  <a:pt x="0" y="238125"/>
                </a:lnTo>
                <a:lnTo>
                  <a:pt x="78105" y="238125"/>
                </a:lnTo>
                <a:lnTo>
                  <a:pt x="24136" y="456829"/>
                </a:lnTo>
                <a:cubicBezTo>
                  <a:pt x="24118" y="456878"/>
                  <a:pt x="24143" y="456934"/>
                  <a:pt x="24193" y="456952"/>
                </a:cubicBezTo>
                <a:cubicBezTo>
                  <a:pt x="24243" y="456970"/>
                  <a:pt x="24299" y="456945"/>
                  <a:pt x="24317" y="456895"/>
                </a:cubicBezTo>
                <a:lnTo>
                  <a:pt x="181927" y="180975"/>
                </a:lnTo>
                <a:lnTo>
                  <a:pt x="101917" y="180975"/>
                </a:lnTo>
                <a:close/>
                <a:moveTo>
                  <a:pt x="149133" y="200025"/>
                </a:moveTo>
                <a:lnTo>
                  <a:pt x="75448" y="329184"/>
                </a:lnTo>
                <a:cubicBezTo>
                  <a:pt x="75267" y="329517"/>
                  <a:pt x="75181" y="329479"/>
                  <a:pt x="75276" y="329117"/>
                </a:cubicBezTo>
                <a:lnTo>
                  <a:pt x="96603" y="242687"/>
                </a:lnTo>
                <a:lnTo>
                  <a:pt x="102432" y="219075"/>
                </a:lnTo>
                <a:lnTo>
                  <a:pt x="22336" y="219075"/>
                </a:lnTo>
                <a:lnTo>
                  <a:pt x="54340" y="19050"/>
                </a:lnTo>
                <a:lnTo>
                  <a:pt x="127311" y="19050"/>
                </a:lnTo>
                <a:lnTo>
                  <a:pt x="83572" y="175860"/>
                </a:lnTo>
                <a:lnTo>
                  <a:pt x="76829" y="200025"/>
                </a:lnTo>
                <a:lnTo>
                  <a:pt x="149133" y="200025"/>
                </a:lnTo>
                <a:close/>
              </a:path>
            </a:pathLst>
          </a:custGeom>
          <a:solidFill>
            <a:schemeClr val="accent5"/>
          </a:solidFill>
          <a:ln w="76200">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05" name="文本框 204">
            <a:extLst>
              <a:ext uri="{FF2B5EF4-FFF2-40B4-BE49-F238E27FC236}">
                <a16:creationId xmlns:a16="http://schemas.microsoft.com/office/drawing/2014/main" id="{EF7870BC-127D-4C80-9956-4F602F6F5728}"/>
              </a:ext>
            </a:extLst>
          </p:cNvPr>
          <p:cNvSpPr txBox="1"/>
          <p:nvPr/>
        </p:nvSpPr>
        <p:spPr>
          <a:xfrm>
            <a:off x="10220137" y="4394184"/>
            <a:ext cx="1339064" cy="707694"/>
          </a:xfrm>
          <a:prstGeom prst="rect">
            <a:avLst/>
          </a:prstGeom>
          <a:noFill/>
        </p:spPr>
        <p:txBody>
          <a:bodyPr wrap="square">
            <a:spAutoFit/>
          </a:bodyPr>
          <a:lstStyle/>
          <a:p>
            <a:pPr defTabSz="609585">
              <a:defRPr/>
            </a:pPr>
            <a:r>
              <a:rPr lang="zh-CN" altLang="en-US" sz="1333" dirty="0">
                <a:solidFill>
                  <a:prstClr val="black"/>
                </a:solidFill>
                <a:latin typeface="微软雅黑" panose="020B0503020204020204" pitchFamily="34" charset="-122"/>
                <a:ea typeface="微软雅黑" panose="020B0503020204020204" pitchFamily="34" charset="-122"/>
              </a:rPr>
              <a:t>专业可靠的技术支持提高软件稳定性</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206" name="文本框 205">
            <a:extLst>
              <a:ext uri="{FF2B5EF4-FFF2-40B4-BE49-F238E27FC236}">
                <a16:creationId xmlns:a16="http://schemas.microsoft.com/office/drawing/2014/main" id="{FFF1371F-CFAC-4328-A1C4-E877C27A0A09}"/>
              </a:ext>
            </a:extLst>
          </p:cNvPr>
          <p:cNvSpPr txBox="1"/>
          <p:nvPr/>
        </p:nvSpPr>
        <p:spPr>
          <a:xfrm>
            <a:off x="10280544" y="3197626"/>
            <a:ext cx="1339064" cy="707694"/>
          </a:xfrm>
          <a:prstGeom prst="rect">
            <a:avLst/>
          </a:prstGeom>
          <a:noFill/>
        </p:spPr>
        <p:txBody>
          <a:bodyPr wrap="square">
            <a:spAutoFit/>
          </a:bodyPr>
          <a:lstStyle/>
          <a:p>
            <a:pPr defTabSz="609585">
              <a:defRPr/>
            </a:pPr>
            <a:r>
              <a:rPr lang="zh-CN" altLang="en-US" sz="1333" dirty="0">
                <a:solidFill>
                  <a:prstClr val="black"/>
                </a:solidFill>
                <a:latin typeface="微软雅黑" panose="020B0503020204020204" pitchFamily="34" charset="-122"/>
                <a:ea typeface="微软雅黑" panose="020B0503020204020204" pitchFamily="34" charset="-122"/>
              </a:rPr>
              <a:t>完整的软件生态服务与解决方案</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207" name="文本框 206">
            <a:extLst>
              <a:ext uri="{FF2B5EF4-FFF2-40B4-BE49-F238E27FC236}">
                <a16:creationId xmlns:a16="http://schemas.microsoft.com/office/drawing/2014/main" id="{3EBC6688-6505-4783-873C-DBFE2080F1A0}"/>
              </a:ext>
            </a:extLst>
          </p:cNvPr>
          <p:cNvSpPr txBox="1"/>
          <p:nvPr/>
        </p:nvSpPr>
        <p:spPr>
          <a:xfrm>
            <a:off x="10280544" y="1888661"/>
            <a:ext cx="1339064" cy="912814"/>
          </a:xfrm>
          <a:prstGeom prst="rect">
            <a:avLst/>
          </a:prstGeom>
          <a:noFill/>
        </p:spPr>
        <p:txBody>
          <a:bodyPr wrap="square">
            <a:spAutoFit/>
          </a:bodyPr>
          <a:lstStyle/>
          <a:p>
            <a:pPr lvl="0">
              <a:defRPr/>
            </a:pPr>
            <a:r>
              <a:rPr lang="zh-CN" altLang="en-US" sz="1333" dirty="0">
                <a:solidFill>
                  <a:prstClr val="black"/>
                </a:solidFill>
                <a:latin typeface="微软雅黑" panose="020B0503020204020204" pitchFamily="34" charset="-122"/>
                <a:ea typeface="微软雅黑" panose="020B0503020204020204" pitchFamily="34" charset="-122"/>
              </a:rPr>
              <a:t>用量弹性</a:t>
            </a:r>
            <a:r>
              <a:rPr lang="en-US" altLang="zh-CN" sz="1333" dirty="0">
                <a:solidFill>
                  <a:prstClr val="black"/>
                </a:solidFill>
                <a:latin typeface="微软雅黑" panose="020B0503020204020204" pitchFamily="34" charset="-122"/>
                <a:ea typeface="微软雅黑" panose="020B0503020204020204" pitchFamily="34" charset="-122"/>
              </a:rPr>
              <a:t>/</a:t>
            </a:r>
            <a:r>
              <a:rPr lang="zh-CN" altLang="en-US" sz="1333" dirty="0">
                <a:solidFill>
                  <a:prstClr val="black"/>
                </a:solidFill>
                <a:latin typeface="微软雅黑" panose="020B0503020204020204" pitchFamily="34" charset="-122"/>
                <a:ea typeface="微软雅黑" panose="020B0503020204020204" pitchFamily="34" charset="-122"/>
              </a:rPr>
              <a:t>按需付费</a:t>
            </a:r>
            <a:endParaRPr lang="en-US" altLang="zh-CN" sz="1333" dirty="0">
              <a:solidFill>
                <a:prstClr val="black"/>
              </a:solidFill>
              <a:latin typeface="微软雅黑" panose="020B0503020204020204" pitchFamily="34" charset="-122"/>
              <a:ea typeface="微软雅黑" panose="020B0503020204020204" pitchFamily="34" charset="-122"/>
            </a:endParaRPr>
          </a:p>
          <a:p>
            <a:pPr lvl="0">
              <a:defRPr/>
            </a:pPr>
            <a:r>
              <a:rPr lang="zh-CN" altLang="en-US" sz="1333" dirty="0">
                <a:solidFill>
                  <a:prstClr val="black"/>
                </a:solidFill>
                <a:latin typeface="微软雅黑" panose="020B0503020204020204" pitchFamily="34" charset="-122"/>
                <a:ea typeface="微软雅黑" panose="020B0503020204020204" pitchFamily="34" charset="-122"/>
              </a:rPr>
              <a:t>免于部署运维</a:t>
            </a:r>
            <a:endParaRPr lang="en-US" altLang="zh-CN" sz="1333" dirty="0">
              <a:solidFill>
                <a:prstClr val="black"/>
              </a:solidFill>
              <a:latin typeface="微软雅黑" panose="020B0503020204020204" pitchFamily="34" charset="-122"/>
              <a:ea typeface="微软雅黑" panose="020B0503020204020204" pitchFamily="34" charset="-122"/>
            </a:endParaRPr>
          </a:p>
          <a:p>
            <a:pPr lvl="0">
              <a:defRPr/>
            </a:pPr>
            <a:r>
              <a:rPr lang="zh-CN" altLang="en-US" sz="1333" dirty="0">
                <a:solidFill>
                  <a:prstClr val="black"/>
                </a:solidFill>
                <a:latin typeface="微软雅黑" panose="020B0503020204020204" pitchFamily="34" charset="-122"/>
                <a:ea typeface="微软雅黑" panose="020B0503020204020204" pitchFamily="34" charset="-122"/>
              </a:rPr>
              <a:t>原厂专业支持</a:t>
            </a:r>
            <a:endParaRPr lang="en-US" altLang="zh-CN" sz="1333" dirty="0">
              <a:solidFill>
                <a:prstClr val="black"/>
              </a:solidFill>
              <a:latin typeface="微软雅黑" panose="020B0503020204020204" pitchFamily="34" charset="-122"/>
              <a:ea typeface="微软雅黑" panose="020B0503020204020204" pitchFamily="34" charset="-122"/>
            </a:endParaRPr>
          </a:p>
        </p:txBody>
      </p:sp>
      <p:sp>
        <p:nvSpPr>
          <p:cNvPr id="208" name="椭圆 14">
            <a:extLst>
              <a:ext uri="{FF2B5EF4-FFF2-40B4-BE49-F238E27FC236}">
                <a16:creationId xmlns:a16="http://schemas.microsoft.com/office/drawing/2014/main" id="{817C76AF-7F6A-448E-AA9E-3829858EC934}"/>
              </a:ext>
            </a:extLst>
          </p:cNvPr>
          <p:cNvSpPr/>
          <p:nvPr/>
        </p:nvSpPr>
        <p:spPr>
          <a:xfrm>
            <a:off x="1642802" y="2403274"/>
            <a:ext cx="136671" cy="136671"/>
          </a:xfrm>
          <a:prstGeom prst="ellipse">
            <a:avLst/>
          </a:prstGeom>
          <a:solidFill>
            <a:schemeClr val="accent1">
              <a:lumMod val="75000"/>
            </a:schemeClr>
          </a:solidFill>
          <a:ln w="1778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zh-CN" altLang="en-US" dirty="0">
              <a:solidFill>
                <a:prstClr val="white"/>
              </a:solidFill>
              <a:latin typeface="微软雅黑" panose="020B0503020204020204" pitchFamily="34" charset="-122"/>
              <a:ea typeface="微软雅黑" panose="020B0503020204020204" pitchFamily="34" charset="-122"/>
            </a:endParaRPr>
          </a:p>
        </p:txBody>
      </p:sp>
      <p:sp>
        <p:nvSpPr>
          <p:cNvPr id="209" name="椭圆 14">
            <a:extLst>
              <a:ext uri="{FF2B5EF4-FFF2-40B4-BE49-F238E27FC236}">
                <a16:creationId xmlns:a16="http://schemas.microsoft.com/office/drawing/2014/main" id="{DBA1802A-980F-4A76-9212-07AD39E55899}"/>
              </a:ext>
            </a:extLst>
          </p:cNvPr>
          <p:cNvSpPr/>
          <p:nvPr/>
        </p:nvSpPr>
        <p:spPr>
          <a:xfrm>
            <a:off x="1642802" y="3506359"/>
            <a:ext cx="136671" cy="136671"/>
          </a:xfrm>
          <a:prstGeom prst="ellipse">
            <a:avLst/>
          </a:prstGeom>
          <a:solidFill>
            <a:schemeClr val="accent1">
              <a:lumMod val="75000"/>
            </a:schemeClr>
          </a:solidFill>
          <a:ln w="1778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zh-CN" altLang="en-US" dirty="0">
              <a:solidFill>
                <a:prstClr val="white"/>
              </a:solidFill>
              <a:latin typeface="微软雅黑" panose="020B0503020204020204" pitchFamily="34" charset="-122"/>
              <a:ea typeface="微软雅黑" panose="020B0503020204020204" pitchFamily="34" charset="-122"/>
            </a:endParaRPr>
          </a:p>
        </p:txBody>
      </p:sp>
      <p:sp>
        <p:nvSpPr>
          <p:cNvPr id="210" name="椭圆 14">
            <a:extLst>
              <a:ext uri="{FF2B5EF4-FFF2-40B4-BE49-F238E27FC236}">
                <a16:creationId xmlns:a16="http://schemas.microsoft.com/office/drawing/2014/main" id="{4508A866-5261-4D11-91B7-41579D1397B4}"/>
              </a:ext>
            </a:extLst>
          </p:cNvPr>
          <p:cNvSpPr/>
          <p:nvPr/>
        </p:nvSpPr>
        <p:spPr>
          <a:xfrm>
            <a:off x="1642802" y="4544773"/>
            <a:ext cx="136671" cy="136671"/>
          </a:xfrm>
          <a:prstGeom prst="ellipse">
            <a:avLst/>
          </a:prstGeom>
          <a:solidFill>
            <a:schemeClr val="accent1">
              <a:lumMod val="75000"/>
            </a:schemeClr>
          </a:solidFill>
          <a:ln w="1778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zh-CN" altLang="en-US" dirty="0">
              <a:solidFill>
                <a:prstClr val="white"/>
              </a:solidFill>
              <a:latin typeface="微软雅黑" panose="020B0503020204020204" pitchFamily="34" charset="-122"/>
              <a:ea typeface="微软雅黑" panose="020B0503020204020204" pitchFamily="34" charset="-122"/>
            </a:endParaRPr>
          </a:p>
        </p:txBody>
      </p:sp>
      <p:sp>
        <p:nvSpPr>
          <p:cNvPr id="211" name="椭圆 14">
            <a:extLst>
              <a:ext uri="{FF2B5EF4-FFF2-40B4-BE49-F238E27FC236}">
                <a16:creationId xmlns:a16="http://schemas.microsoft.com/office/drawing/2014/main" id="{7E18F2C9-9CB4-4325-9DF4-07E72BC8C3A4}"/>
              </a:ext>
            </a:extLst>
          </p:cNvPr>
          <p:cNvSpPr/>
          <p:nvPr/>
        </p:nvSpPr>
        <p:spPr>
          <a:xfrm>
            <a:off x="1642802" y="5624158"/>
            <a:ext cx="136671" cy="136671"/>
          </a:xfrm>
          <a:prstGeom prst="ellipse">
            <a:avLst/>
          </a:prstGeom>
          <a:solidFill>
            <a:schemeClr val="accent1">
              <a:lumMod val="75000"/>
            </a:schemeClr>
          </a:solidFill>
          <a:ln w="1778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zh-CN" altLang="en-US" dirty="0">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27370160"/>
      </p:ext>
    </p:extLst>
  </p:cSld>
  <p:clrMapOvr>
    <a:masterClrMapping/>
  </p:clrMapOvr>
  <p:transition spd="slow">
    <p:randomBa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3">
            <a:extLst>
              <a:ext uri="{FF2B5EF4-FFF2-40B4-BE49-F238E27FC236}">
                <a16:creationId xmlns:a16="http://schemas.microsoft.com/office/drawing/2014/main" id="{4E6783CD-696C-4DE1-9C01-1B618187656A}"/>
              </a:ext>
            </a:extLst>
          </p:cNvPr>
          <p:cNvSpPr txBox="1"/>
          <p:nvPr/>
        </p:nvSpPr>
        <p:spPr>
          <a:xfrm>
            <a:off x="979997" y="419101"/>
            <a:ext cx="697251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开源软件商业化成功具有</a:t>
            </a:r>
            <a:r>
              <a:rPr lang="en-US" altLang="zh-CN" sz="3000" i="1" dirty="0">
                <a:solidFill>
                  <a:srgbClr val="445185"/>
                </a:solidFill>
                <a:latin typeface="黑体" panose="02010609060101010101" charset="-122"/>
                <a:ea typeface="黑体" panose="02010609060101010101" charset="-122"/>
              </a:rPr>
              <a:t>3</a:t>
            </a:r>
            <a:r>
              <a:rPr lang="zh-CN" altLang="en-US" sz="3000" i="1" dirty="0">
                <a:solidFill>
                  <a:srgbClr val="445185"/>
                </a:solidFill>
                <a:latin typeface="黑体" panose="02010609060101010101" charset="-122"/>
                <a:ea typeface="黑体" panose="02010609060101010101" charset="-122"/>
              </a:rPr>
              <a:t>个驱动因素</a:t>
            </a:r>
          </a:p>
        </p:txBody>
      </p:sp>
      <p:sp>
        <p:nvSpPr>
          <p:cNvPr id="4" name="矩形: 圆角 3">
            <a:extLst>
              <a:ext uri="{FF2B5EF4-FFF2-40B4-BE49-F238E27FC236}">
                <a16:creationId xmlns:a16="http://schemas.microsoft.com/office/drawing/2014/main" id="{766D01A5-C9BC-4194-8272-B5F7856215C7}"/>
              </a:ext>
            </a:extLst>
          </p:cNvPr>
          <p:cNvSpPr/>
          <p:nvPr/>
        </p:nvSpPr>
        <p:spPr>
          <a:xfrm>
            <a:off x="1090833"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社区建设是商业化的基础壁垒 </a:t>
            </a:r>
          </a:p>
        </p:txBody>
      </p:sp>
      <p:sp>
        <p:nvSpPr>
          <p:cNvPr id="7" name="文本框 6">
            <a:extLst>
              <a:ext uri="{FF2B5EF4-FFF2-40B4-BE49-F238E27FC236}">
                <a16:creationId xmlns:a16="http://schemas.microsoft.com/office/drawing/2014/main" id="{B90D71E0-25F9-4C5E-88AD-1A27F3A99CD9}"/>
              </a:ext>
            </a:extLst>
          </p:cNvPr>
          <p:cNvSpPr txBox="1"/>
          <p:nvPr/>
        </p:nvSpPr>
        <p:spPr>
          <a:xfrm>
            <a:off x="1090834" y="1676380"/>
            <a:ext cx="4792730" cy="591572"/>
          </a:xfrm>
          <a:prstGeom prst="rect">
            <a:avLst/>
          </a:prstGeom>
          <a:noFill/>
        </p:spPr>
        <p:txBody>
          <a:bodyPr wrap="square" rtlCol="0">
            <a:spAutoFit/>
          </a:bodyPr>
          <a:lstStyle/>
          <a:p>
            <a:pPr indent="360000">
              <a:lnSpc>
                <a:spcPct val="120000"/>
              </a:lnSpc>
            </a:pPr>
            <a:r>
              <a:rPr lang="zh-CN" altLang="en-US" sz="1400" i="0" strike="noStrike" baseline="0" dirty="0">
                <a:solidFill>
                  <a:srgbClr val="000000"/>
                </a:solidFill>
                <a:latin typeface="AAAAAH+NotoSansCJKsc-Light"/>
              </a:rPr>
              <a:t>代码是能够被简单复⽤的，但社区⽣态⽆法被复制，真正为开源赋予活⼒的是社区带来的产品迭代和⽤⼾增⻓。</a:t>
            </a:r>
            <a:endParaRPr lang="en-US" altLang="zh-CN" sz="1200" b="1" kern="1400" dirty="0">
              <a:solidFill>
                <a:srgbClr val="2F2F2F"/>
              </a:solidFill>
              <a:latin typeface="微软雅黑" panose="020B0503020204020204" pitchFamily="34" charset="-122"/>
              <a:ea typeface="微软雅黑" panose="020B0503020204020204" pitchFamily="34" charset="-122"/>
            </a:endParaRPr>
          </a:p>
        </p:txBody>
      </p:sp>
      <p:grpSp>
        <p:nvGrpSpPr>
          <p:cNvPr id="10" name="组合 9">
            <a:extLst>
              <a:ext uri="{FF2B5EF4-FFF2-40B4-BE49-F238E27FC236}">
                <a16:creationId xmlns:a16="http://schemas.microsoft.com/office/drawing/2014/main" id="{F137D48F-DCE8-4BE3-951D-502BA6B9B8A5}"/>
              </a:ext>
            </a:extLst>
          </p:cNvPr>
          <p:cNvGrpSpPr/>
          <p:nvPr/>
        </p:nvGrpSpPr>
        <p:grpSpPr>
          <a:xfrm>
            <a:off x="1293561" y="4921367"/>
            <a:ext cx="4590003" cy="1517532"/>
            <a:chOff x="1090832" y="4422603"/>
            <a:chExt cx="4792731" cy="1691874"/>
          </a:xfrm>
        </p:grpSpPr>
        <p:sp>
          <p:nvSpPr>
            <p:cNvPr id="13" name="矩形 12">
              <a:extLst>
                <a:ext uri="{FF2B5EF4-FFF2-40B4-BE49-F238E27FC236}">
                  <a16:creationId xmlns:a16="http://schemas.microsoft.com/office/drawing/2014/main" id="{D37442DA-E31C-4795-9365-6A24F0843413}"/>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文本框 13">
              <a:extLst>
                <a:ext uri="{FF2B5EF4-FFF2-40B4-BE49-F238E27FC236}">
                  <a16:creationId xmlns:a16="http://schemas.microsoft.com/office/drawing/2014/main" id="{1AFAF5DC-CFFC-4749-A7BE-17F706F0EE70}"/>
                </a:ext>
              </a:extLst>
            </p:cNvPr>
            <p:cNvSpPr txBox="1"/>
            <p:nvPr/>
          </p:nvSpPr>
          <p:spPr>
            <a:xfrm>
              <a:off x="1257087" y="4514963"/>
              <a:ext cx="4448978" cy="1440670"/>
            </a:xfrm>
            <a:prstGeom prst="rect">
              <a:avLst/>
            </a:prstGeom>
            <a:noFill/>
          </p:spPr>
          <p:txBody>
            <a:bodyPr wrap="square" rtlCol="0">
              <a:spAutoFit/>
            </a:bodyPr>
            <a:lstStyle/>
            <a:p>
              <a:pPr marL="285750" indent="-285750">
                <a:lnSpc>
                  <a:spcPct val="170000"/>
                </a:lnSpc>
                <a:buFont typeface="Wingdings" panose="05000000000000000000" pitchFamily="2" charset="2"/>
                <a:buChar char="l"/>
              </a:pPr>
              <a:r>
                <a:rPr lang="zh-CN" altLang="en-US" sz="1600" kern="1400" dirty="0">
                  <a:solidFill>
                    <a:srgbClr val="2F2F2F"/>
                  </a:solidFill>
                  <a:latin typeface="微软雅黑" panose="020B0503020204020204" pitchFamily="34" charset="-122"/>
                  <a:ea typeface="微软雅黑" panose="020B0503020204020204" pitchFamily="34" charset="-122"/>
                </a:rPr>
                <a:t>贡献者：</a:t>
              </a:r>
              <a:r>
                <a:rPr lang="zh-CN" altLang="en-US" sz="1400" kern="1400" dirty="0">
                  <a:solidFill>
                    <a:srgbClr val="2F2F2F"/>
                  </a:solidFill>
                  <a:latin typeface="微软雅黑" panose="020B0503020204020204" pitchFamily="34" charset="-122"/>
                  <a:ea typeface="微软雅黑" panose="020B0503020204020204" pitchFamily="34" charset="-122"/>
                </a:rPr>
                <a:t>底层代码延伸不同场景，是内生动力</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70000"/>
                </a:lnSpc>
                <a:buFont typeface="Wingdings" panose="05000000000000000000" pitchFamily="2" charset="2"/>
                <a:buChar char="l"/>
              </a:pPr>
              <a:r>
                <a:rPr lang="zh-CN" altLang="en-US" sz="1600" kern="1400" dirty="0">
                  <a:solidFill>
                    <a:srgbClr val="2F2F2F"/>
                  </a:solidFill>
                  <a:latin typeface="微软雅黑" panose="020B0503020204020204" pitchFamily="34" charset="-122"/>
                  <a:ea typeface="微软雅黑" panose="020B0503020204020204" pitchFamily="34" charset="-122"/>
                </a:rPr>
                <a:t>企业贡献者：</a:t>
              </a:r>
              <a:r>
                <a:rPr lang="zh-CN" altLang="en-US" sz="1400" kern="1400" dirty="0">
                  <a:solidFill>
                    <a:srgbClr val="2F2F2F"/>
                  </a:solidFill>
                  <a:latin typeface="微软雅黑" panose="020B0503020204020204" pitchFamily="34" charset="-122"/>
                  <a:ea typeface="微软雅黑" panose="020B0503020204020204" pitchFamily="34" charset="-122"/>
                </a:rPr>
                <a:t>帮助开源软件适配上下游硬件</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70000"/>
                </a:lnSpc>
                <a:buFont typeface="Wingdings" panose="05000000000000000000" pitchFamily="2" charset="2"/>
                <a:buChar char="l"/>
              </a:pPr>
              <a:r>
                <a:rPr lang="zh-CN" altLang="en-US" sz="1600" kern="1400" dirty="0">
                  <a:solidFill>
                    <a:srgbClr val="2F2F2F"/>
                  </a:solidFill>
                  <a:latin typeface="微软雅黑" panose="020B0503020204020204" pitchFamily="34" charset="-122"/>
                  <a:ea typeface="微软雅黑" panose="020B0503020204020204" pitchFamily="34" charset="-122"/>
                </a:rPr>
                <a:t>使用者：</a:t>
              </a:r>
              <a:r>
                <a:rPr lang="zh-CN" altLang="en-US" sz="1400" kern="1400" dirty="0">
                  <a:solidFill>
                    <a:srgbClr val="2F2F2F"/>
                  </a:solidFill>
                  <a:latin typeface="微软雅黑" panose="020B0503020204020204" pitchFamily="34" charset="-122"/>
                  <a:ea typeface="微软雅黑" panose="020B0503020204020204" pitchFamily="34" charset="-122"/>
                </a:rPr>
                <a:t>为开源产品引流，提供产品反馈</a:t>
              </a:r>
              <a:endParaRPr lang="en-US" altLang="zh-CN" sz="1400" kern="1400" dirty="0">
                <a:solidFill>
                  <a:srgbClr val="2F2F2F"/>
                </a:solidFill>
                <a:latin typeface="微软雅黑" panose="020B0503020204020204" pitchFamily="34" charset="-122"/>
                <a:ea typeface="微软雅黑" panose="020B0503020204020204" pitchFamily="34" charset="-122"/>
              </a:endParaRPr>
            </a:p>
          </p:txBody>
        </p:sp>
      </p:grpSp>
      <p:sp>
        <p:nvSpPr>
          <p:cNvPr id="15" name="矩形: 圆角 14">
            <a:extLst>
              <a:ext uri="{FF2B5EF4-FFF2-40B4-BE49-F238E27FC236}">
                <a16:creationId xmlns:a16="http://schemas.microsoft.com/office/drawing/2014/main" id="{9C26B567-751C-40C2-9999-38270D2D403F}"/>
              </a:ext>
            </a:extLst>
          </p:cNvPr>
          <p:cNvSpPr/>
          <p:nvPr/>
        </p:nvSpPr>
        <p:spPr>
          <a:xfrm>
            <a:off x="6096000" y="1214562"/>
            <a:ext cx="5005167"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构造产品特色竞争力是开源产品商业化的打法</a:t>
            </a:r>
          </a:p>
        </p:txBody>
      </p:sp>
      <p:grpSp>
        <p:nvGrpSpPr>
          <p:cNvPr id="19" name="组合 18">
            <a:extLst>
              <a:ext uri="{FF2B5EF4-FFF2-40B4-BE49-F238E27FC236}">
                <a16:creationId xmlns:a16="http://schemas.microsoft.com/office/drawing/2014/main" id="{687C31E6-5E69-425B-975D-D2CEF347FB77}"/>
              </a:ext>
            </a:extLst>
          </p:cNvPr>
          <p:cNvGrpSpPr/>
          <p:nvPr/>
        </p:nvGrpSpPr>
        <p:grpSpPr>
          <a:xfrm>
            <a:off x="5883564" y="1742812"/>
            <a:ext cx="4802436" cy="1432265"/>
            <a:chOff x="5883564" y="1687396"/>
            <a:chExt cx="4802436" cy="1432265"/>
          </a:xfrm>
        </p:grpSpPr>
        <p:sp>
          <p:nvSpPr>
            <p:cNvPr id="16" name="文本框 15">
              <a:extLst>
                <a:ext uri="{FF2B5EF4-FFF2-40B4-BE49-F238E27FC236}">
                  <a16:creationId xmlns:a16="http://schemas.microsoft.com/office/drawing/2014/main" id="{D2E5EDBF-D53B-48C5-804D-42789BA2D7AA}"/>
                </a:ext>
              </a:extLst>
            </p:cNvPr>
            <p:cNvSpPr txBox="1"/>
            <p:nvPr/>
          </p:nvSpPr>
          <p:spPr>
            <a:xfrm>
              <a:off x="5883564" y="1687396"/>
              <a:ext cx="4792730" cy="328936"/>
            </a:xfrm>
            <a:prstGeom prst="rect">
              <a:avLst/>
            </a:prstGeom>
            <a:noFill/>
          </p:spPr>
          <p:txBody>
            <a:bodyPr wrap="square" rtlCol="0">
              <a:spAutoFit/>
            </a:bodyPr>
            <a:lstStyle/>
            <a:p>
              <a:pPr indent="360000">
                <a:lnSpc>
                  <a:spcPct val="120000"/>
                </a:lnSpc>
              </a:pPr>
              <a:r>
                <a:rPr lang="zh-CN" altLang="en-US" sz="1400" b="1" kern="1400" dirty="0">
                  <a:solidFill>
                    <a:srgbClr val="2F2F2F"/>
                  </a:solidFill>
                  <a:latin typeface="微软雅黑" panose="020B0503020204020204" pitchFamily="34" charset="-122"/>
                  <a:ea typeface="微软雅黑" panose="020B0503020204020204" pitchFamily="34" charset="-122"/>
                </a:rPr>
                <a:t>赛道和创新性决定产品的市场空间</a:t>
              </a:r>
              <a:endParaRPr lang="en-US" altLang="zh-CN" sz="1400" b="1" kern="1400" dirty="0">
                <a:solidFill>
                  <a:srgbClr val="2F2F2F"/>
                </a:solidFill>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FE46ABC0-586B-4A03-8000-D40DF40C5B85}"/>
                </a:ext>
              </a:extLst>
            </p:cNvPr>
            <p:cNvSpPr txBox="1"/>
            <p:nvPr/>
          </p:nvSpPr>
          <p:spPr>
            <a:xfrm>
              <a:off x="5893270" y="2790725"/>
              <a:ext cx="4792730" cy="328936"/>
            </a:xfrm>
            <a:prstGeom prst="rect">
              <a:avLst/>
            </a:prstGeom>
            <a:noFill/>
          </p:spPr>
          <p:txBody>
            <a:bodyPr wrap="square" rtlCol="0">
              <a:spAutoFit/>
            </a:bodyPr>
            <a:lstStyle/>
            <a:p>
              <a:pPr indent="360000">
                <a:lnSpc>
                  <a:spcPct val="120000"/>
                </a:lnSpc>
              </a:pPr>
              <a:r>
                <a:rPr lang="zh-CN" altLang="en-US" sz="1400" b="1" kern="1400" dirty="0">
                  <a:solidFill>
                    <a:srgbClr val="2F2F2F"/>
                  </a:solidFill>
                  <a:latin typeface="微软雅黑" panose="020B0503020204020204" pitchFamily="34" charset="-122"/>
                  <a:ea typeface="微软雅黑" panose="020B0503020204020204" pitchFamily="34" charset="-122"/>
                </a:rPr>
                <a:t>慎重考量付费场景</a:t>
              </a:r>
              <a:endParaRPr lang="en-US" altLang="zh-CN" sz="1400" b="1" kern="1400" dirty="0">
                <a:solidFill>
                  <a:srgbClr val="2F2F2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538C6981-FFB4-4A54-8458-9F09413DB7C0}"/>
                </a:ext>
              </a:extLst>
            </p:cNvPr>
            <p:cNvSpPr txBox="1"/>
            <p:nvPr/>
          </p:nvSpPr>
          <p:spPr>
            <a:xfrm>
              <a:off x="5893270" y="2230609"/>
              <a:ext cx="4792730" cy="328936"/>
            </a:xfrm>
            <a:prstGeom prst="rect">
              <a:avLst/>
            </a:prstGeom>
            <a:noFill/>
          </p:spPr>
          <p:txBody>
            <a:bodyPr wrap="square" rtlCol="0">
              <a:spAutoFit/>
            </a:bodyPr>
            <a:lstStyle/>
            <a:p>
              <a:pPr indent="360000">
                <a:lnSpc>
                  <a:spcPct val="120000"/>
                </a:lnSpc>
              </a:pPr>
              <a:r>
                <a:rPr lang="zh-CN" altLang="en-US" sz="1400" b="1" kern="1400" dirty="0">
                  <a:solidFill>
                    <a:srgbClr val="2F2F2F"/>
                  </a:solidFill>
                  <a:latin typeface="微软雅黑" panose="020B0503020204020204" pitchFamily="34" charset="-122"/>
                  <a:ea typeface="微软雅黑" panose="020B0503020204020204" pitchFamily="34" charset="-122"/>
                </a:rPr>
                <a:t>快速迭代以保持竞争力</a:t>
              </a:r>
              <a:endParaRPr lang="en-US" altLang="zh-CN" sz="1400" b="1" kern="1400" dirty="0">
                <a:solidFill>
                  <a:srgbClr val="2F2F2F"/>
                </a:solidFill>
                <a:latin typeface="微软雅黑" panose="020B0503020204020204" pitchFamily="34" charset="-122"/>
                <a:ea typeface="微软雅黑" panose="020B0503020204020204" pitchFamily="34" charset="-122"/>
              </a:endParaRPr>
            </a:p>
          </p:txBody>
        </p:sp>
      </p:grpSp>
      <p:sp>
        <p:nvSpPr>
          <p:cNvPr id="20" name="矩形: 圆角 19">
            <a:extLst>
              <a:ext uri="{FF2B5EF4-FFF2-40B4-BE49-F238E27FC236}">
                <a16:creationId xmlns:a16="http://schemas.microsoft.com/office/drawing/2014/main" id="{DBD69212-0C00-464E-9D30-657AFD35E632}"/>
              </a:ext>
            </a:extLst>
          </p:cNvPr>
          <p:cNvSpPr/>
          <p:nvPr/>
        </p:nvSpPr>
        <p:spPr>
          <a:xfrm>
            <a:off x="6096000" y="4377952"/>
            <a:ext cx="5005167"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精益治理实现降本增效是长期生存的基本策略</a:t>
            </a:r>
          </a:p>
        </p:txBody>
      </p:sp>
      <p:pic>
        <p:nvPicPr>
          <p:cNvPr id="22" name="图片 21">
            <a:extLst>
              <a:ext uri="{FF2B5EF4-FFF2-40B4-BE49-F238E27FC236}">
                <a16:creationId xmlns:a16="http://schemas.microsoft.com/office/drawing/2014/main" id="{2EA8A0C4-709A-4C68-AA4F-108A7DE3AA1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95999" y="4894428"/>
            <a:ext cx="2318329" cy="1537307"/>
          </a:xfrm>
          <a:prstGeom prst="rect">
            <a:avLst/>
          </a:prstGeom>
        </p:spPr>
      </p:pic>
      <p:grpSp>
        <p:nvGrpSpPr>
          <p:cNvPr id="23" name="组合 22">
            <a:extLst>
              <a:ext uri="{FF2B5EF4-FFF2-40B4-BE49-F238E27FC236}">
                <a16:creationId xmlns:a16="http://schemas.microsoft.com/office/drawing/2014/main" id="{0FA4427F-4050-4A14-B8DF-169B0E0F112A}"/>
              </a:ext>
            </a:extLst>
          </p:cNvPr>
          <p:cNvGrpSpPr/>
          <p:nvPr/>
        </p:nvGrpSpPr>
        <p:grpSpPr>
          <a:xfrm>
            <a:off x="8510838" y="4892931"/>
            <a:ext cx="2590328" cy="1550382"/>
            <a:chOff x="1090832" y="4422603"/>
            <a:chExt cx="4792731" cy="1696703"/>
          </a:xfrm>
        </p:grpSpPr>
        <p:sp>
          <p:nvSpPr>
            <p:cNvPr id="24" name="矩形 23">
              <a:extLst>
                <a:ext uri="{FF2B5EF4-FFF2-40B4-BE49-F238E27FC236}">
                  <a16:creationId xmlns:a16="http://schemas.microsoft.com/office/drawing/2014/main" id="{2DA522FD-4B59-4F7D-9164-B501DDDDF636}"/>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文本框 24">
              <a:extLst>
                <a:ext uri="{FF2B5EF4-FFF2-40B4-BE49-F238E27FC236}">
                  <a16:creationId xmlns:a16="http://schemas.microsoft.com/office/drawing/2014/main" id="{A18C4F40-B531-4BBA-938D-ABD6DC7573DC}"/>
                </a:ext>
              </a:extLst>
            </p:cNvPr>
            <p:cNvSpPr txBox="1"/>
            <p:nvPr/>
          </p:nvSpPr>
          <p:spPr>
            <a:xfrm>
              <a:off x="1257087" y="4487254"/>
              <a:ext cx="4386331" cy="1632052"/>
            </a:xfrm>
            <a:prstGeom prst="rect">
              <a:avLst/>
            </a:prstGeom>
            <a:noFill/>
          </p:spPr>
          <p:txBody>
            <a:bodyPr wrap="square" rtlCol="0">
              <a:spAutoFit/>
            </a:bodyPr>
            <a:lstStyle/>
            <a:p>
              <a:pPr algn="ctr">
                <a:lnSpc>
                  <a:spcPct val="120000"/>
                </a:lnSpc>
                <a:spcAft>
                  <a:spcPts val="500"/>
                </a:spcAft>
              </a:pPr>
              <a:r>
                <a:rPr lang="zh-CN" altLang="en-US" sz="1400" kern="1400" dirty="0">
                  <a:solidFill>
                    <a:srgbClr val="FF0000"/>
                  </a:solidFill>
                  <a:latin typeface="微软雅黑" panose="020B0503020204020204" pitchFamily="34" charset="-122"/>
                  <a:ea typeface="微软雅黑" panose="020B0503020204020204" pitchFamily="34" charset="-122"/>
                </a:rPr>
                <a:t>开源协议</a:t>
              </a:r>
              <a:r>
                <a:rPr lang="zh-CN" altLang="en-US" sz="1400" kern="1400" dirty="0">
                  <a:solidFill>
                    <a:srgbClr val="2F2F2F"/>
                  </a:solidFill>
                  <a:latin typeface="微软雅黑" panose="020B0503020204020204" pitchFamily="34" charset="-122"/>
                  <a:ea typeface="微软雅黑" panose="020B0503020204020204" pitchFamily="34" charset="-122"/>
                </a:rPr>
                <a:t>是开源治理的前提 </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400" kern="1400" dirty="0">
                  <a:solidFill>
                    <a:srgbClr val="FF0000"/>
                  </a:solidFill>
                  <a:latin typeface="微软雅黑" panose="020B0503020204020204" pitchFamily="34" charset="-122"/>
                  <a:ea typeface="微软雅黑" panose="020B0503020204020204" pitchFamily="34" charset="-122"/>
                </a:rPr>
                <a:t>社区治理</a:t>
              </a:r>
              <a:r>
                <a:rPr lang="zh-CN" altLang="en-US" sz="1400" kern="1400" dirty="0">
                  <a:solidFill>
                    <a:srgbClr val="2F2F2F"/>
                  </a:solidFill>
                  <a:latin typeface="微软雅黑" panose="020B0503020204020204" pitchFamily="34" charset="-122"/>
                  <a:ea typeface="微软雅黑" panose="020B0503020204020204" pitchFamily="34" charset="-122"/>
                </a:rPr>
                <a:t>是不断壮⼤的社区⽣态的基⽯ </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400" kern="1400" dirty="0">
                  <a:solidFill>
                    <a:srgbClr val="2F2F2F"/>
                  </a:solidFill>
                  <a:latin typeface="微软雅黑" panose="020B0503020204020204" pitchFamily="34" charset="-122"/>
                  <a:ea typeface="微软雅黑" panose="020B0503020204020204" pitchFamily="34" charset="-122"/>
                </a:rPr>
                <a:t>开源</a:t>
              </a:r>
              <a:r>
                <a:rPr lang="zh-CN" altLang="en-US" sz="1400" kern="1400" dirty="0">
                  <a:solidFill>
                    <a:srgbClr val="FF0000"/>
                  </a:solidFill>
                  <a:latin typeface="微软雅黑" panose="020B0503020204020204" pitchFamily="34" charset="-122"/>
                  <a:ea typeface="微软雅黑" panose="020B0503020204020204" pitchFamily="34" charset="-122"/>
                </a:rPr>
                <a:t>安全问题</a:t>
              </a:r>
              <a:r>
                <a:rPr lang="zh-CN" altLang="en-US" sz="1400" kern="1400" dirty="0">
                  <a:solidFill>
                    <a:srgbClr val="2F2F2F"/>
                  </a:solidFill>
                  <a:latin typeface="微软雅黑" panose="020B0503020204020204" pitchFamily="34" charset="-122"/>
                  <a:ea typeface="微软雅黑" panose="020B0503020204020204" pitchFamily="34" charset="-122"/>
                </a:rPr>
                <a:t>治理需要⻓期关注 </a:t>
              </a:r>
              <a:endParaRPr lang="en-US" altLang="zh-CN" sz="1400" kern="1400" dirty="0">
                <a:solidFill>
                  <a:srgbClr val="2F2F2F"/>
                </a:solidFill>
                <a:latin typeface="微软雅黑" panose="020B0503020204020204" pitchFamily="34" charset="-122"/>
                <a:ea typeface="微软雅黑" panose="020B0503020204020204" pitchFamily="34" charset="-122"/>
              </a:endParaRPr>
            </a:p>
          </p:txBody>
        </p:sp>
      </p:grpSp>
      <p:sp>
        <p:nvSpPr>
          <p:cNvPr id="5" name="灯片编号占位符 4">
            <a:extLst>
              <a:ext uri="{FF2B5EF4-FFF2-40B4-BE49-F238E27FC236}">
                <a16:creationId xmlns:a16="http://schemas.microsoft.com/office/drawing/2014/main" id="{BE8D979B-B91B-4B1E-AAF7-DA2506084356}"/>
              </a:ext>
            </a:extLst>
          </p:cNvPr>
          <p:cNvSpPr>
            <a:spLocks noGrp="1"/>
          </p:cNvSpPr>
          <p:nvPr>
            <p:ph type="sldNum" sz="quarter" idx="12"/>
          </p:nvPr>
        </p:nvSpPr>
        <p:spPr/>
        <p:txBody>
          <a:bodyPr/>
          <a:lstStyle/>
          <a:p>
            <a:fld id="{65703A48-C316-4AA3-8E4E-4433376E065D}" type="slidenum">
              <a:rPr lang="zh-CN" altLang="en-US" smtClean="0"/>
              <a:t>5</a:t>
            </a:fld>
            <a:endParaRPr lang="zh-CN" altLang="en-US"/>
          </a:p>
        </p:txBody>
      </p:sp>
      <p:pic>
        <p:nvPicPr>
          <p:cNvPr id="2" name="图片 1">
            <a:extLst>
              <a:ext uri="{FF2B5EF4-FFF2-40B4-BE49-F238E27FC236}">
                <a16:creationId xmlns:a16="http://schemas.microsoft.com/office/drawing/2014/main" id="{7112CC99-628B-48A7-85B2-37A953CB25D8}"/>
              </a:ext>
            </a:extLst>
          </p:cNvPr>
          <p:cNvPicPr>
            <a:picLocks noChangeAspect="1"/>
          </p:cNvPicPr>
          <p:nvPr/>
        </p:nvPicPr>
        <p:blipFill>
          <a:blip r:embed="rId3"/>
          <a:stretch>
            <a:fillRect/>
          </a:stretch>
        </p:blipFill>
        <p:spPr>
          <a:xfrm>
            <a:off x="1293561" y="2380742"/>
            <a:ext cx="4261845" cy="2407723"/>
          </a:xfrm>
          <a:prstGeom prst="rect">
            <a:avLst/>
          </a:prstGeom>
        </p:spPr>
      </p:pic>
      <p:pic>
        <p:nvPicPr>
          <p:cNvPr id="6" name="图片 5">
            <a:extLst>
              <a:ext uri="{FF2B5EF4-FFF2-40B4-BE49-F238E27FC236}">
                <a16:creationId xmlns:a16="http://schemas.microsoft.com/office/drawing/2014/main" id="{CBF84A70-7219-4F4B-9909-4D2B995E3E8D}"/>
              </a:ext>
            </a:extLst>
          </p:cNvPr>
          <p:cNvPicPr>
            <a:picLocks noChangeAspect="1"/>
          </p:cNvPicPr>
          <p:nvPr/>
        </p:nvPicPr>
        <p:blipFill>
          <a:blip r:embed="rId4"/>
          <a:stretch>
            <a:fillRect/>
          </a:stretch>
        </p:blipFill>
        <p:spPr>
          <a:xfrm>
            <a:off x="6433864" y="1504884"/>
            <a:ext cx="4792730" cy="2875638"/>
          </a:xfrm>
          <a:prstGeom prst="rect">
            <a:avLst/>
          </a:prstGeom>
        </p:spPr>
      </p:pic>
    </p:spTree>
    <p:extLst>
      <p:ext uri="{BB962C8B-B14F-4D97-AF65-F5344CB8AC3E}">
        <p14:creationId xmlns:p14="http://schemas.microsoft.com/office/powerpoint/2010/main" val="803339607"/>
      </p:ext>
    </p:extLst>
  </p:cSld>
  <p:clrMapOvr>
    <a:masterClrMapping/>
  </p:clrMapOvr>
  <p:transition spd="slow">
    <p:randomBa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831EDD2-3C98-405D-8403-30A02713885C}"/>
              </a:ext>
            </a:extLst>
          </p:cNvPr>
          <p:cNvSpPr>
            <a:spLocks noGrp="1"/>
          </p:cNvSpPr>
          <p:nvPr>
            <p:ph type="sldNum" sz="quarter" idx="12"/>
          </p:nvPr>
        </p:nvSpPr>
        <p:spPr/>
        <p:txBody>
          <a:bodyPr/>
          <a:lstStyle/>
          <a:p>
            <a:fld id="{65703A48-C316-4AA3-8E4E-4433376E065D}" type="slidenum">
              <a:rPr lang="zh-CN" altLang="en-US" smtClean="0"/>
              <a:t>6</a:t>
            </a:fld>
            <a:endParaRPr lang="zh-CN" altLang="en-US" dirty="0"/>
          </a:p>
        </p:txBody>
      </p:sp>
      <p:sp>
        <p:nvSpPr>
          <p:cNvPr id="5" name="标题 3">
            <a:extLst>
              <a:ext uri="{FF2B5EF4-FFF2-40B4-BE49-F238E27FC236}">
                <a16:creationId xmlns:a16="http://schemas.microsoft.com/office/drawing/2014/main" id="{D60055C1-ACA8-4F52-B1C9-B066D18E484A}"/>
              </a:ext>
            </a:extLst>
          </p:cNvPr>
          <p:cNvSpPr txBox="1"/>
          <p:nvPr/>
        </p:nvSpPr>
        <p:spPr>
          <a:xfrm>
            <a:off x="1132397" y="571501"/>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优秀开源商业产品具有</a:t>
            </a:r>
            <a:r>
              <a:rPr lang="en-US" altLang="zh-CN" sz="3000" i="1" dirty="0">
                <a:solidFill>
                  <a:srgbClr val="445185"/>
                </a:solidFill>
                <a:latin typeface="黑体" panose="02010609060101010101" charset="-122"/>
                <a:ea typeface="黑体" panose="02010609060101010101" charset="-122"/>
              </a:rPr>
              <a:t>5</a:t>
            </a:r>
            <a:r>
              <a:rPr lang="zh-CN" altLang="en-US" sz="3000" i="1" dirty="0">
                <a:solidFill>
                  <a:srgbClr val="445185"/>
                </a:solidFill>
                <a:latin typeface="黑体" panose="02010609060101010101" charset="-122"/>
                <a:ea typeface="黑体" panose="02010609060101010101" charset="-122"/>
              </a:rPr>
              <a:t>个维度的能力</a:t>
            </a:r>
          </a:p>
        </p:txBody>
      </p:sp>
      <p:sp>
        <p:nvSpPr>
          <p:cNvPr id="6" name="矩形: 圆角 5">
            <a:extLst>
              <a:ext uri="{FF2B5EF4-FFF2-40B4-BE49-F238E27FC236}">
                <a16:creationId xmlns:a16="http://schemas.microsoft.com/office/drawing/2014/main" id="{49D4FC92-39A9-4C41-8E06-BF75AC3B0C6A}"/>
              </a:ext>
            </a:extLst>
          </p:cNvPr>
          <p:cNvSpPr/>
          <p:nvPr/>
        </p:nvSpPr>
        <p:spPr>
          <a:xfrm>
            <a:off x="1243233" y="13669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拥有代码所有权和控制权</a:t>
            </a:r>
            <a:r>
              <a:rPr lang="en-US" altLang="zh-CN" b="1" dirty="0">
                <a:solidFill>
                  <a:schemeClr val="tx1"/>
                </a:solidFill>
              </a:rPr>
              <a:t>——</a:t>
            </a:r>
            <a:r>
              <a:rPr lang="zh-CN" altLang="en-US" b="1" dirty="0">
                <a:solidFill>
                  <a:schemeClr val="tx1"/>
                </a:solidFill>
              </a:rPr>
              <a:t>产品开发阶段</a:t>
            </a:r>
          </a:p>
        </p:txBody>
      </p:sp>
      <p:sp>
        <p:nvSpPr>
          <p:cNvPr id="8" name="矩形: 圆角 7">
            <a:extLst>
              <a:ext uri="{FF2B5EF4-FFF2-40B4-BE49-F238E27FC236}">
                <a16:creationId xmlns:a16="http://schemas.microsoft.com/office/drawing/2014/main" id="{97E6D132-035F-4207-B061-3110D8A6A371}"/>
              </a:ext>
            </a:extLst>
          </p:cNvPr>
          <p:cNvSpPr/>
          <p:nvPr/>
        </p:nvSpPr>
        <p:spPr>
          <a:xfrm>
            <a:off x="8677788" y="1367306"/>
            <a:ext cx="3041246"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具备国际竞争力</a:t>
            </a:r>
          </a:p>
        </p:txBody>
      </p:sp>
      <p:sp>
        <p:nvSpPr>
          <p:cNvPr id="24" name="矩形: 圆角 23">
            <a:extLst>
              <a:ext uri="{FF2B5EF4-FFF2-40B4-BE49-F238E27FC236}">
                <a16:creationId xmlns:a16="http://schemas.microsoft.com/office/drawing/2014/main" id="{64DD8EC2-C211-427F-8825-7F9FF03D72E2}"/>
              </a:ext>
            </a:extLst>
          </p:cNvPr>
          <p:cNvSpPr/>
          <p:nvPr/>
        </p:nvSpPr>
        <p:spPr>
          <a:xfrm>
            <a:off x="6156038" y="1366962"/>
            <a:ext cx="2454562"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社区运营能力</a:t>
            </a:r>
          </a:p>
        </p:txBody>
      </p:sp>
      <p:sp>
        <p:nvSpPr>
          <p:cNvPr id="25" name="矩形: 圆角 24">
            <a:extLst>
              <a:ext uri="{FF2B5EF4-FFF2-40B4-BE49-F238E27FC236}">
                <a16:creationId xmlns:a16="http://schemas.microsoft.com/office/drawing/2014/main" id="{BAC8B878-C613-4FE9-9053-760CDF11E19A}"/>
              </a:ext>
            </a:extLst>
          </p:cNvPr>
          <p:cNvSpPr/>
          <p:nvPr/>
        </p:nvSpPr>
        <p:spPr>
          <a:xfrm>
            <a:off x="1243232" y="3937717"/>
            <a:ext cx="3762813"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市场匹配能力</a:t>
            </a:r>
          </a:p>
        </p:txBody>
      </p:sp>
      <p:sp>
        <p:nvSpPr>
          <p:cNvPr id="28" name="矩形: 圆角 27">
            <a:extLst>
              <a:ext uri="{FF2B5EF4-FFF2-40B4-BE49-F238E27FC236}">
                <a16:creationId xmlns:a16="http://schemas.microsoft.com/office/drawing/2014/main" id="{4CB5E7CF-438C-4977-B6DB-E8B8E84B3413}"/>
              </a:ext>
            </a:extLst>
          </p:cNvPr>
          <p:cNvSpPr/>
          <p:nvPr/>
        </p:nvSpPr>
        <p:spPr>
          <a:xfrm>
            <a:off x="5148615" y="3937717"/>
            <a:ext cx="3502722"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市场匹配能力</a:t>
            </a:r>
          </a:p>
        </p:txBody>
      </p:sp>
      <p:grpSp>
        <p:nvGrpSpPr>
          <p:cNvPr id="29" name="组合 28">
            <a:extLst>
              <a:ext uri="{FF2B5EF4-FFF2-40B4-BE49-F238E27FC236}">
                <a16:creationId xmlns:a16="http://schemas.microsoft.com/office/drawing/2014/main" id="{63FDC48E-B54B-4570-ADBB-AB30347F89FF}"/>
              </a:ext>
            </a:extLst>
          </p:cNvPr>
          <p:cNvGrpSpPr/>
          <p:nvPr/>
        </p:nvGrpSpPr>
        <p:grpSpPr>
          <a:xfrm>
            <a:off x="6214235" y="1901605"/>
            <a:ext cx="2396366" cy="1906068"/>
            <a:chOff x="1090832" y="4422603"/>
            <a:chExt cx="4792731" cy="1691874"/>
          </a:xfrm>
        </p:grpSpPr>
        <p:sp>
          <p:nvSpPr>
            <p:cNvPr id="30" name="矩形 29">
              <a:extLst>
                <a:ext uri="{FF2B5EF4-FFF2-40B4-BE49-F238E27FC236}">
                  <a16:creationId xmlns:a16="http://schemas.microsoft.com/office/drawing/2014/main" id="{E4110224-989D-48ED-9905-06708E726FAD}"/>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1" name="文本框 30">
              <a:extLst>
                <a:ext uri="{FF2B5EF4-FFF2-40B4-BE49-F238E27FC236}">
                  <a16:creationId xmlns:a16="http://schemas.microsoft.com/office/drawing/2014/main" id="{F9F75EF1-F0A4-4AFC-83D0-EFA1831D8A6B}"/>
                </a:ext>
              </a:extLst>
            </p:cNvPr>
            <p:cNvSpPr txBox="1"/>
            <p:nvPr/>
          </p:nvSpPr>
          <p:spPr>
            <a:xfrm>
              <a:off x="1397764" y="4473340"/>
              <a:ext cx="4386331" cy="1633336"/>
            </a:xfrm>
            <a:prstGeom prst="rect">
              <a:avLst/>
            </a:prstGeom>
            <a:noFill/>
          </p:spPr>
          <p:txBody>
            <a:bodyPr wrap="square" rtlCol="0">
              <a:spAutoFit/>
            </a:bodyPr>
            <a:lstStyle/>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维护社交媒体</a:t>
              </a:r>
              <a:endParaRPr lang="en-US" altLang="zh-CN" sz="16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发表高质量论文</a:t>
              </a:r>
              <a:endParaRPr lang="en-US" altLang="zh-CN" sz="16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举行多方面竞赛</a:t>
              </a:r>
              <a:endParaRPr lang="en-US" altLang="zh-CN" sz="16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组织相关论坛</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举行线下交流活动</a:t>
              </a:r>
              <a:endParaRPr lang="en-US" altLang="zh-CN" sz="16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20000"/>
                </a:lnSpc>
                <a:buFont typeface="Wingdings" pitchFamily="2" charset="2"/>
                <a:buChar char="ü"/>
              </a:pPr>
              <a:r>
                <a:rPr lang="zh-CN" altLang="en-US" sz="1600" kern="1400" dirty="0">
                  <a:solidFill>
                    <a:srgbClr val="2F2F2F"/>
                  </a:solidFill>
                  <a:latin typeface="微软雅黑" panose="020B0503020204020204" pitchFamily="34" charset="-122"/>
                  <a:ea typeface="微软雅黑" panose="020B0503020204020204" pitchFamily="34" charset="-122"/>
                </a:rPr>
                <a:t>参加业界会议</a:t>
              </a:r>
              <a:endParaRPr lang="zh-CN" altLang="en-US" sz="1400" kern="1400" dirty="0">
                <a:solidFill>
                  <a:srgbClr val="2F2F2F"/>
                </a:solidFill>
                <a:latin typeface="微软雅黑" panose="020B0503020204020204" pitchFamily="34" charset="-122"/>
                <a:ea typeface="微软雅黑" panose="020B0503020204020204" pitchFamily="34" charset="-122"/>
              </a:endParaRPr>
            </a:p>
          </p:txBody>
        </p:sp>
      </p:grpSp>
      <p:grpSp>
        <p:nvGrpSpPr>
          <p:cNvPr id="32" name="组合 31">
            <a:extLst>
              <a:ext uri="{FF2B5EF4-FFF2-40B4-BE49-F238E27FC236}">
                <a16:creationId xmlns:a16="http://schemas.microsoft.com/office/drawing/2014/main" id="{6CBC0629-3158-43AE-8619-9EFE5F4826AC}"/>
              </a:ext>
            </a:extLst>
          </p:cNvPr>
          <p:cNvGrpSpPr/>
          <p:nvPr/>
        </p:nvGrpSpPr>
        <p:grpSpPr>
          <a:xfrm>
            <a:off x="1173987" y="4450281"/>
            <a:ext cx="3832060" cy="1777115"/>
            <a:chOff x="1002633" y="4422603"/>
            <a:chExt cx="4880930" cy="1691874"/>
          </a:xfrm>
        </p:grpSpPr>
        <p:sp>
          <p:nvSpPr>
            <p:cNvPr id="33" name="矩形 32">
              <a:extLst>
                <a:ext uri="{FF2B5EF4-FFF2-40B4-BE49-F238E27FC236}">
                  <a16:creationId xmlns:a16="http://schemas.microsoft.com/office/drawing/2014/main" id="{566528A6-1AB2-4332-B90B-1333C0D3D414}"/>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4" name="文本框 33">
              <a:extLst>
                <a:ext uri="{FF2B5EF4-FFF2-40B4-BE49-F238E27FC236}">
                  <a16:creationId xmlns:a16="http://schemas.microsoft.com/office/drawing/2014/main" id="{8B210236-D6F4-4301-978E-2A42910AA641}"/>
                </a:ext>
              </a:extLst>
            </p:cNvPr>
            <p:cNvSpPr txBox="1"/>
            <p:nvPr/>
          </p:nvSpPr>
          <p:spPr>
            <a:xfrm>
              <a:off x="1002633" y="4524264"/>
              <a:ext cx="2484565" cy="1352442"/>
            </a:xfrm>
            <a:prstGeom prst="rect">
              <a:avLst/>
            </a:prstGeom>
            <a:noFill/>
          </p:spPr>
          <p:txBody>
            <a:bodyPr wrap="square" rtlCol="0">
              <a:spAutoFit/>
            </a:bodyPr>
            <a:lstStyle/>
            <a:p>
              <a:pPr algn="ctr">
                <a:lnSpc>
                  <a:spcPct val="120000"/>
                </a:lnSpc>
                <a:spcAft>
                  <a:spcPts val="500"/>
                </a:spcAft>
              </a:pPr>
              <a:r>
                <a:rPr lang="zh-CN" altLang="en-US" sz="1800" b="1" kern="1400" dirty="0">
                  <a:solidFill>
                    <a:srgbClr val="2F2F2F"/>
                  </a:solidFill>
                  <a:latin typeface="微软雅黑" panose="020B0503020204020204" pitchFamily="34" charset="-122"/>
                  <a:ea typeface="微软雅黑" panose="020B0503020204020204" pitchFamily="34" charset="-122"/>
                </a:rPr>
                <a:t>产品</a:t>
              </a:r>
              <a:r>
                <a:rPr lang="en-US" altLang="zh-CN" sz="1800" b="1" kern="1400" dirty="0">
                  <a:solidFill>
                    <a:srgbClr val="2F2F2F"/>
                  </a:solidFill>
                  <a:latin typeface="微软雅黑" panose="020B0503020204020204" pitchFamily="34" charset="-122"/>
                  <a:ea typeface="微软雅黑" panose="020B0503020204020204" pitchFamily="34" charset="-122"/>
                </a:rPr>
                <a:t>-</a:t>
              </a:r>
              <a:r>
                <a:rPr lang="zh-CN" altLang="en-US" sz="1800" b="1" kern="1400" dirty="0">
                  <a:solidFill>
                    <a:srgbClr val="2F2F2F"/>
                  </a:solidFill>
                  <a:latin typeface="微软雅黑" panose="020B0503020204020204" pitchFamily="34" charset="-122"/>
                  <a:ea typeface="微软雅黑" panose="020B0503020204020204" pitchFamily="34" charset="-122"/>
                </a:rPr>
                <a:t>市场契合</a:t>
              </a:r>
              <a:endParaRPr lang="en-US" altLang="zh-CN" sz="1800" b="1"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200" kern="1400" dirty="0">
                  <a:solidFill>
                    <a:srgbClr val="2F2F2F"/>
                  </a:solidFill>
                  <a:latin typeface="微软雅黑" panose="020B0503020204020204" pitchFamily="34" charset="-122"/>
                  <a:ea typeface="微软雅黑" panose="020B0503020204020204" pitchFamily="34" charset="-122"/>
                </a:rPr>
                <a:t>注重用户的初始采用率，可用</a:t>
              </a:r>
              <a:r>
                <a:rPr lang="zh-CN" altLang="en-US" sz="1200" b="1" kern="1400" dirty="0">
                  <a:solidFill>
                    <a:srgbClr val="2F2F2F"/>
                  </a:solidFill>
                  <a:latin typeface="微软雅黑" panose="020B0503020204020204" pitchFamily="34" charset="-122"/>
                  <a:ea typeface="微软雅黑" panose="020B0503020204020204" pitchFamily="34" charset="-122"/>
                </a:rPr>
                <a:t>下载量</a:t>
              </a:r>
              <a:r>
                <a:rPr lang="zh-CN" altLang="en-US" sz="1200" kern="1400" dirty="0">
                  <a:solidFill>
                    <a:srgbClr val="2F2F2F"/>
                  </a:solidFill>
                  <a:latin typeface="微软雅黑" panose="020B0503020204020204" pitchFamily="34" charset="-122"/>
                  <a:ea typeface="微软雅黑" panose="020B0503020204020204" pitchFamily="34" charset="-122"/>
                </a:rPr>
                <a:t>衡量</a:t>
              </a:r>
              <a:endParaRPr lang="en-US" altLang="zh-CN" sz="1200"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200" kern="1400" dirty="0">
                  <a:solidFill>
                    <a:srgbClr val="2F2F2F"/>
                  </a:solidFill>
                  <a:latin typeface="微软雅黑" panose="020B0503020204020204" pitchFamily="34" charset="-122"/>
                  <a:ea typeface="微软雅黑" panose="020B0503020204020204" pitchFamily="34" charset="-122"/>
                </a:rPr>
                <a:t>初期用户是</a:t>
              </a:r>
              <a:r>
                <a:rPr lang="zh-CN" altLang="en-US" sz="1200" b="1" kern="1400" dirty="0">
                  <a:solidFill>
                    <a:srgbClr val="2F2F2F"/>
                  </a:solidFill>
                  <a:latin typeface="微软雅黑" panose="020B0503020204020204" pitchFamily="34" charset="-122"/>
                  <a:ea typeface="微软雅黑" panose="020B0503020204020204" pitchFamily="34" charset="-122"/>
                </a:rPr>
                <a:t>后期付费转化</a:t>
              </a:r>
              <a:r>
                <a:rPr lang="zh-CN" altLang="en-US" sz="1200" kern="1400" dirty="0">
                  <a:solidFill>
                    <a:srgbClr val="2F2F2F"/>
                  </a:solidFill>
                  <a:latin typeface="微软雅黑" panose="020B0503020204020204" pitchFamily="34" charset="-122"/>
                  <a:ea typeface="微软雅黑" panose="020B0503020204020204" pitchFamily="34" charset="-122"/>
                </a:rPr>
                <a:t>的先决条件</a:t>
              </a:r>
              <a:endParaRPr lang="en-US" altLang="zh-CN" sz="1200" kern="1400" dirty="0">
                <a:solidFill>
                  <a:srgbClr val="2F2F2F"/>
                </a:solidFill>
                <a:latin typeface="微软雅黑" panose="020B0503020204020204" pitchFamily="34" charset="-122"/>
                <a:ea typeface="微软雅黑" panose="020B0503020204020204" pitchFamily="34" charset="-122"/>
              </a:endParaRPr>
            </a:p>
          </p:txBody>
        </p:sp>
        <p:sp>
          <p:nvSpPr>
            <p:cNvPr id="35" name="文本框 34">
              <a:extLst>
                <a:ext uri="{FF2B5EF4-FFF2-40B4-BE49-F238E27FC236}">
                  <a16:creationId xmlns:a16="http://schemas.microsoft.com/office/drawing/2014/main" id="{7D72BE5E-3C01-4C78-ACEE-FE05A5594360}"/>
                </a:ext>
              </a:extLst>
            </p:cNvPr>
            <p:cNvSpPr txBox="1"/>
            <p:nvPr/>
          </p:nvSpPr>
          <p:spPr>
            <a:xfrm>
              <a:off x="3398998" y="4524264"/>
              <a:ext cx="2484565" cy="1352442"/>
            </a:xfrm>
            <a:prstGeom prst="rect">
              <a:avLst/>
            </a:prstGeom>
            <a:noFill/>
          </p:spPr>
          <p:txBody>
            <a:bodyPr wrap="square" rtlCol="0">
              <a:spAutoFit/>
            </a:bodyPr>
            <a:lstStyle/>
            <a:p>
              <a:pPr algn="ctr">
                <a:lnSpc>
                  <a:spcPct val="120000"/>
                </a:lnSpc>
                <a:spcAft>
                  <a:spcPts val="500"/>
                </a:spcAft>
              </a:pPr>
              <a:r>
                <a:rPr lang="zh-CN" altLang="en-US" b="1" kern="1400" dirty="0">
                  <a:solidFill>
                    <a:srgbClr val="2F2F2F"/>
                  </a:solidFill>
                  <a:latin typeface="微软雅黑" panose="020B0503020204020204" pitchFamily="34" charset="-122"/>
                  <a:ea typeface="微软雅黑" panose="020B0503020204020204" pitchFamily="34" charset="-122"/>
                </a:rPr>
                <a:t>价值</a:t>
              </a:r>
              <a:r>
                <a:rPr lang="en-US" altLang="zh-CN" sz="1800" b="1" kern="1400" dirty="0">
                  <a:solidFill>
                    <a:srgbClr val="2F2F2F"/>
                  </a:solidFill>
                  <a:latin typeface="微软雅黑" panose="020B0503020204020204" pitchFamily="34" charset="-122"/>
                  <a:ea typeface="微软雅黑" panose="020B0503020204020204" pitchFamily="34" charset="-122"/>
                </a:rPr>
                <a:t>-</a:t>
              </a:r>
              <a:r>
                <a:rPr lang="zh-CN" altLang="en-US" sz="1800" b="1" kern="1400" dirty="0">
                  <a:solidFill>
                    <a:srgbClr val="2F2F2F"/>
                  </a:solidFill>
                  <a:latin typeface="微软雅黑" panose="020B0503020204020204" pitchFamily="34" charset="-122"/>
                  <a:ea typeface="微软雅黑" panose="020B0503020204020204" pitchFamily="34" charset="-122"/>
                </a:rPr>
                <a:t>市场契合</a:t>
              </a:r>
              <a:endParaRPr lang="en-US" altLang="zh-CN" sz="1800" b="1"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200" kern="1400" dirty="0">
                  <a:solidFill>
                    <a:srgbClr val="2F2F2F"/>
                  </a:solidFill>
                  <a:latin typeface="微软雅黑" panose="020B0503020204020204" pitchFamily="34" charset="-122"/>
                  <a:ea typeface="微软雅黑" panose="020B0503020204020204" pitchFamily="34" charset="-122"/>
                </a:rPr>
                <a:t>找到用户关心并且</a:t>
              </a:r>
              <a:r>
                <a:rPr lang="zh-CN" altLang="en-US" sz="1200" kern="1400" dirty="0">
                  <a:solidFill>
                    <a:srgbClr val="FF0000"/>
                  </a:solidFill>
                  <a:latin typeface="微软雅黑" panose="020B0503020204020204" pitchFamily="34" charset="-122"/>
                  <a:ea typeface="微软雅黑" panose="020B0503020204020204" pitchFamily="34" charset="-122"/>
                </a:rPr>
                <a:t>愿意支付的费用</a:t>
              </a:r>
              <a:endParaRPr lang="en-US" altLang="zh-CN" sz="1200" kern="1400" dirty="0">
                <a:solidFill>
                  <a:srgbClr val="FF0000"/>
                </a:solidFill>
                <a:latin typeface="微软雅黑" panose="020B0503020204020204" pitchFamily="34" charset="-122"/>
                <a:ea typeface="微软雅黑" panose="020B0503020204020204" pitchFamily="34" charset="-122"/>
              </a:endParaRPr>
            </a:p>
            <a:p>
              <a:pPr algn="ctr">
                <a:lnSpc>
                  <a:spcPct val="120000"/>
                </a:lnSpc>
              </a:pPr>
              <a:r>
                <a:rPr lang="zh-CN" altLang="en-US" sz="1200" kern="1400" dirty="0">
                  <a:solidFill>
                    <a:srgbClr val="2F2F2F"/>
                  </a:solidFill>
                  <a:latin typeface="微软雅黑" panose="020B0503020204020204" pitchFamily="34" charset="-122"/>
                  <a:ea typeface="微软雅黑" panose="020B0503020204020204" pitchFamily="34" charset="-122"/>
                </a:rPr>
                <a:t>如</a:t>
              </a:r>
              <a:r>
                <a:rPr lang="en-US" altLang="zh-CN" sz="1200" kern="1400" dirty="0">
                  <a:solidFill>
                    <a:srgbClr val="2F2F2F"/>
                  </a:solidFill>
                  <a:latin typeface="微软雅黑" panose="020B0503020204020204" pitchFamily="34" charset="-122"/>
                  <a:ea typeface="微软雅黑" panose="020B0503020204020204" pitchFamily="34" charset="-122"/>
                </a:rPr>
                <a:t>RAS</a:t>
              </a:r>
              <a:r>
                <a:rPr lang="zh-CN" altLang="en-US" sz="1200" kern="1400" dirty="0">
                  <a:solidFill>
                    <a:srgbClr val="2F2F2F"/>
                  </a:solidFill>
                  <a:latin typeface="微软雅黑" panose="020B0503020204020204" pitchFamily="34" charset="-122"/>
                  <a:ea typeface="微软雅黑" panose="020B0503020204020204" pitchFamily="34" charset="-122"/>
                </a:rPr>
                <a:t>、工具附加组件、性能、审计、服务等</a:t>
              </a:r>
              <a:endParaRPr lang="en-US" altLang="zh-CN" sz="1200" kern="1400" dirty="0">
                <a:solidFill>
                  <a:srgbClr val="2F2F2F"/>
                </a:solidFill>
                <a:latin typeface="微软雅黑" panose="020B0503020204020204" pitchFamily="34" charset="-122"/>
                <a:ea typeface="微软雅黑" panose="020B0503020204020204" pitchFamily="34" charset="-122"/>
              </a:endParaRPr>
            </a:p>
          </p:txBody>
        </p:sp>
      </p:grpSp>
      <p:grpSp>
        <p:nvGrpSpPr>
          <p:cNvPr id="38" name="组合 37">
            <a:extLst>
              <a:ext uri="{FF2B5EF4-FFF2-40B4-BE49-F238E27FC236}">
                <a16:creationId xmlns:a16="http://schemas.microsoft.com/office/drawing/2014/main" id="{01FCB9D8-B8B7-48E1-BF9B-C9D0989C1857}"/>
              </a:ext>
            </a:extLst>
          </p:cNvPr>
          <p:cNvGrpSpPr/>
          <p:nvPr/>
        </p:nvGrpSpPr>
        <p:grpSpPr>
          <a:xfrm>
            <a:off x="5148615" y="4452934"/>
            <a:ext cx="3502722" cy="1787665"/>
            <a:chOff x="1090832" y="4422603"/>
            <a:chExt cx="4792731" cy="1691874"/>
          </a:xfrm>
        </p:grpSpPr>
        <p:sp>
          <p:nvSpPr>
            <p:cNvPr id="39" name="矩形 38">
              <a:extLst>
                <a:ext uri="{FF2B5EF4-FFF2-40B4-BE49-F238E27FC236}">
                  <a16:creationId xmlns:a16="http://schemas.microsoft.com/office/drawing/2014/main" id="{3E4F11AB-FA3B-48F2-BCF3-792B8552C3AF}"/>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文本框 39">
              <a:extLst>
                <a:ext uri="{FF2B5EF4-FFF2-40B4-BE49-F238E27FC236}">
                  <a16:creationId xmlns:a16="http://schemas.microsoft.com/office/drawing/2014/main" id="{D5ACD529-835A-4F57-BFB5-0019FA4254D6}"/>
                </a:ext>
              </a:extLst>
            </p:cNvPr>
            <p:cNvSpPr txBox="1"/>
            <p:nvPr/>
          </p:nvSpPr>
          <p:spPr>
            <a:xfrm>
              <a:off x="1257087" y="4509444"/>
              <a:ext cx="4386330" cy="1344461"/>
            </a:xfrm>
            <a:prstGeom prst="rect">
              <a:avLst/>
            </a:prstGeom>
            <a:noFill/>
          </p:spPr>
          <p:txBody>
            <a:bodyPr wrap="square" rtlCol="0">
              <a:spAutoFit/>
            </a:bodyPr>
            <a:lstStyle/>
            <a:p>
              <a:pPr algn="ctr">
                <a:lnSpc>
                  <a:spcPct val="120000"/>
                </a:lnSpc>
                <a:spcAft>
                  <a:spcPts val="500"/>
                </a:spcAft>
              </a:pPr>
              <a:r>
                <a:rPr lang="zh-CN" altLang="en-US" b="1" kern="1400" dirty="0">
                  <a:solidFill>
                    <a:srgbClr val="2F2F2F"/>
                  </a:solidFill>
                  <a:latin typeface="微软雅黑" panose="020B0503020204020204" pitchFamily="34" charset="-122"/>
                  <a:ea typeface="微软雅黑" panose="020B0503020204020204" pitchFamily="34" charset="-122"/>
                </a:rPr>
                <a:t>商业模式因地制宜</a:t>
              </a:r>
              <a:endParaRPr lang="en-US" altLang="zh-CN" b="1" kern="1400" dirty="0">
                <a:solidFill>
                  <a:srgbClr val="2F2F2F"/>
                </a:solidFill>
                <a:latin typeface="微软雅黑" panose="020B0503020204020204" pitchFamily="34" charset="-122"/>
                <a:ea typeface="微软雅黑" panose="020B0503020204020204" pitchFamily="34" charset="-122"/>
              </a:endParaRPr>
            </a:p>
            <a:p>
              <a:pPr algn="ctr">
                <a:lnSpc>
                  <a:spcPct val="120000"/>
                </a:lnSpc>
                <a:spcAft>
                  <a:spcPts val="500"/>
                </a:spcAft>
              </a:pPr>
              <a:r>
                <a:rPr lang="zh-CN" altLang="en-US" sz="1200" kern="1400" dirty="0">
                  <a:solidFill>
                    <a:srgbClr val="2F2F2F"/>
                  </a:solidFill>
                  <a:latin typeface="微软雅黑" panose="020B0503020204020204" pitchFamily="34" charset="-122"/>
                  <a:ea typeface="微软雅黑" panose="020B0503020204020204" pitchFamily="34" charset="-122"/>
                </a:rPr>
                <a:t>根据</a:t>
              </a:r>
              <a:r>
                <a:rPr lang="zh-CN" altLang="en-US" sz="1200" b="1" kern="1400" dirty="0">
                  <a:solidFill>
                    <a:srgbClr val="FF0000"/>
                  </a:solidFill>
                  <a:latin typeface="微软雅黑" panose="020B0503020204020204" pitchFamily="34" charset="-122"/>
                  <a:ea typeface="微软雅黑" panose="020B0503020204020204" pitchFamily="34" charset="-122"/>
                </a:rPr>
                <a:t>产品特征</a:t>
              </a:r>
              <a:r>
                <a:rPr lang="zh-CN" altLang="en-US" sz="1200" b="1" kern="1400" dirty="0">
                  <a:solidFill>
                    <a:srgbClr val="2F2F2F"/>
                  </a:solidFill>
                  <a:latin typeface="微软雅黑" panose="020B0503020204020204" pitchFamily="34" charset="-122"/>
                  <a:ea typeface="微软雅黑" panose="020B0503020204020204" pitchFamily="34" charset="-122"/>
                </a:rPr>
                <a:t>：</a:t>
              </a:r>
              <a:r>
                <a:rPr lang="zh-CN" altLang="en-US" sz="1200" kern="1400" dirty="0">
                  <a:solidFill>
                    <a:srgbClr val="2F2F2F"/>
                  </a:solidFill>
                  <a:latin typeface="微软雅黑" panose="020B0503020204020204" pitchFamily="34" charset="-122"/>
                  <a:ea typeface="微软雅黑" panose="020B0503020204020204" pitchFamily="34" charset="-122"/>
                </a:rPr>
                <a:t>能否开源下保持专有高价值组件、优势是否在于软件运维</a:t>
              </a:r>
              <a:r>
                <a:rPr lang="en-US" altLang="zh-CN" sz="1200" kern="1400" dirty="0">
                  <a:solidFill>
                    <a:srgbClr val="2F2F2F"/>
                  </a:solidFill>
                  <a:latin typeface="微软雅黑" panose="020B0503020204020204" pitchFamily="34" charset="-122"/>
                  <a:ea typeface="微软雅黑" panose="020B0503020204020204" pitchFamily="34" charset="-122"/>
                </a:rPr>
                <a:t>……</a:t>
              </a:r>
            </a:p>
            <a:p>
              <a:pPr algn="ctr">
                <a:lnSpc>
                  <a:spcPct val="120000"/>
                </a:lnSpc>
              </a:pPr>
              <a:r>
                <a:rPr lang="zh-CN" altLang="en-US" sz="1200" kern="1400" dirty="0">
                  <a:solidFill>
                    <a:srgbClr val="2F2F2F"/>
                  </a:solidFill>
                  <a:latin typeface="微软雅黑" panose="020B0503020204020204" pitchFamily="34" charset="-122"/>
                  <a:ea typeface="微软雅黑" panose="020B0503020204020204" pitchFamily="34" charset="-122"/>
                </a:rPr>
                <a:t>大数据、</a:t>
              </a:r>
              <a:r>
                <a:rPr lang="en-US" altLang="zh-CN" sz="1200" kern="1400" dirty="0">
                  <a:solidFill>
                    <a:srgbClr val="2F2F2F"/>
                  </a:solidFill>
                  <a:latin typeface="微软雅黑" panose="020B0503020204020204" pitchFamily="34" charset="-122"/>
                  <a:ea typeface="微软雅黑" panose="020B0503020204020204" pitchFamily="34" charset="-122"/>
                </a:rPr>
                <a:t>AI</a:t>
              </a:r>
              <a:r>
                <a:rPr lang="zh-CN" altLang="en-US" sz="1200" kern="1400" dirty="0">
                  <a:solidFill>
                    <a:srgbClr val="2F2F2F"/>
                  </a:solidFill>
                  <a:latin typeface="微软雅黑" panose="020B0503020204020204" pitchFamily="34" charset="-122"/>
                  <a:ea typeface="微软雅黑" panose="020B0503020204020204" pitchFamily="34" charset="-122"/>
                </a:rPr>
                <a:t>、企业搜索、中间件和操作系统等领域相对较为容易商业化</a:t>
              </a:r>
              <a:endParaRPr lang="en-US" altLang="zh-CN" sz="1200" kern="1400" dirty="0">
                <a:solidFill>
                  <a:srgbClr val="2F2F2F"/>
                </a:solidFill>
                <a:latin typeface="微软雅黑" panose="020B0503020204020204" pitchFamily="34" charset="-122"/>
                <a:ea typeface="微软雅黑" panose="020B0503020204020204" pitchFamily="34" charset="-122"/>
              </a:endParaRPr>
            </a:p>
          </p:txBody>
        </p:sp>
      </p:grpSp>
      <p:pic>
        <p:nvPicPr>
          <p:cNvPr id="41" name="图片 40">
            <a:extLst>
              <a:ext uri="{FF2B5EF4-FFF2-40B4-BE49-F238E27FC236}">
                <a16:creationId xmlns:a16="http://schemas.microsoft.com/office/drawing/2014/main" id="{52B299D4-70B3-4728-85B9-86DC0EA9DED4}"/>
              </a:ext>
            </a:extLst>
          </p:cNvPr>
          <p:cNvPicPr>
            <a:picLocks noChangeAspect="1"/>
          </p:cNvPicPr>
          <p:nvPr/>
        </p:nvPicPr>
        <p:blipFill>
          <a:blip r:embed="rId2"/>
          <a:stretch>
            <a:fillRect/>
          </a:stretch>
        </p:blipFill>
        <p:spPr>
          <a:xfrm>
            <a:off x="1173987" y="1922371"/>
            <a:ext cx="5394979" cy="1808373"/>
          </a:xfrm>
          <a:prstGeom prst="rect">
            <a:avLst/>
          </a:prstGeom>
        </p:spPr>
      </p:pic>
      <p:pic>
        <p:nvPicPr>
          <p:cNvPr id="42" name="图片 41">
            <a:extLst>
              <a:ext uri="{FF2B5EF4-FFF2-40B4-BE49-F238E27FC236}">
                <a16:creationId xmlns:a16="http://schemas.microsoft.com/office/drawing/2014/main" id="{1BC363B7-4C98-4432-8720-720CC5B5EBE4}"/>
              </a:ext>
            </a:extLst>
          </p:cNvPr>
          <p:cNvPicPr>
            <a:picLocks noChangeAspect="1"/>
          </p:cNvPicPr>
          <p:nvPr/>
        </p:nvPicPr>
        <p:blipFill>
          <a:blip r:embed="rId3"/>
          <a:stretch>
            <a:fillRect/>
          </a:stretch>
        </p:blipFill>
        <p:spPr>
          <a:xfrm>
            <a:off x="8787653" y="1958765"/>
            <a:ext cx="2824189" cy="4085730"/>
          </a:xfrm>
          <a:prstGeom prst="rect">
            <a:avLst/>
          </a:prstGeom>
        </p:spPr>
      </p:pic>
    </p:spTree>
    <p:extLst>
      <p:ext uri="{BB962C8B-B14F-4D97-AF65-F5344CB8AC3E}">
        <p14:creationId xmlns:p14="http://schemas.microsoft.com/office/powerpoint/2010/main" val="620520692"/>
      </p:ext>
    </p:extLst>
  </p:cSld>
  <p:clrMapOvr>
    <a:masterClrMapping/>
  </p:clrMapOvr>
  <p:transition spd="slow">
    <p:randomBa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3">
            <a:extLst>
              <a:ext uri="{FF2B5EF4-FFF2-40B4-BE49-F238E27FC236}">
                <a16:creationId xmlns:a16="http://schemas.microsoft.com/office/drawing/2014/main" id="{3B9836BB-F83C-4337-8315-F7E5B5C072E2}"/>
              </a:ext>
            </a:extLst>
          </p:cNvPr>
          <p:cNvSpPr txBox="1"/>
          <p:nvPr/>
        </p:nvSpPr>
        <p:spPr>
          <a:xfrm>
            <a:off x="979997" y="419101"/>
            <a:ext cx="6224367"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开源软件商业化步入全球化探索阶段</a:t>
            </a:r>
          </a:p>
        </p:txBody>
      </p:sp>
      <p:sp>
        <p:nvSpPr>
          <p:cNvPr id="12" name="矩形: 圆角 11">
            <a:extLst>
              <a:ext uri="{FF2B5EF4-FFF2-40B4-BE49-F238E27FC236}">
                <a16:creationId xmlns:a16="http://schemas.microsoft.com/office/drawing/2014/main" id="{30754583-26A8-4E65-8EFA-A51CFA84EDB7}"/>
              </a:ext>
            </a:extLst>
          </p:cNvPr>
          <p:cNvSpPr/>
          <p:nvPr/>
        </p:nvSpPr>
        <p:spPr>
          <a:xfrm>
            <a:off x="1090833"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软件具有天然的全球化发展的趋势 </a:t>
            </a:r>
          </a:p>
        </p:txBody>
      </p:sp>
      <p:sp>
        <p:nvSpPr>
          <p:cNvPr id="18" name="文本框 17">
            <a:extLst>
              <a:ext uri="{FF2B5EF4-FFF2-40B4-BE49-F238E27FC236}">
                <a16:creationId xmlns:a16="http://schemas.microsoft.com/office/drawing/2014/main" id="{E1804445-1388-4916-A5FD-56351F43E135}"/>
              </a:ext>
            </a:extLst>
          </p:cNvPr>
          <p:cNvSpPr txBox="1"/>
          <p:nvPr/>
        </p:nvSpPr>
        <p:spPr>
          <a:xfrm>
            <a:off x="1090834" y="1676380"/>
            <a:ext cx="5116002" cy="307777"/>
          </a:xfrm>
          <a:prstGeom prst="rect">
            <a:avLst/>
          </a:prstGeom>
          <a:noFill/>
        </p:spPr>
        <p:txBody>
          <a:bodyPr wrap="square" rtlCol="0">
            <a:spAutoFit/>
          </a:bodyPr>
          <a:lstStyle/>
          <a:p>
            <a:r>
              <a:rPr lang="zh-CN" altLang="en-US" sz="1400" dirty="0">
                <a:solidFill>
                  <a:srgbClr val="000000"/>
                </a:solidFill>
                <a:latin typeface="AAAAAH+NotoSansCJKsc-Light"/>
              </a:rPr>
              <a:t>⼀个好的开源项⽬可以吸引全世界各地的开发者来添砖加⽡。 </a:t>
            </a:r>
            <a:endParaRPr lang="en-US" altLang="zh-CN" sz="1400" dirty="0">
              <a:solidFill>
                <a:srgbClr val="000000"/>
              </a:solidFill>
              <a:latin typeface="AAAAAH+NotoSansCJKsc-Light"/>
            </a:endParaRPr>
          </a:p>
        </p:txBody>
      </p:sp>
      <p:sp>
        <p:nvSpPr>
          <p:cNvPr id="20" name="矩形: 圆角 19">
            <a:extLst>
              <a:ext uri="{FF2B5EF4-FFF2-40B4-BE49-F238E27FC236}">
                <a16:creationId xmlns:a16="http://schemas.microsoft.com/office/drawing/2014/main" id="{2596A3E8-F31B-4564-81D7-D7875610B3A8}"/>
              </a:ext>
            </a:extLst>
          </p:cNvPr>
          <p:cNvSpPr/>
          <p:nvPr/>
        </p:nvSpPr>
        <p:spPr>
          <a:xfrm>
            <a:off x="6096000" y="1214562"/>
            <a:ext cx="5116002"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三大因素驱动开源软件全球化探索</a:t>
            </a:r>
          </a:p>
        </p:txBody>
      </p:sp>
      <p:sp>
        <p:nvSpPr>
          <p:cNvPr id="9" name="矩形: 圆角 8">
            <a:extLst>
              <a:ext uri="{FF2B5EF4-FFF2-40B4-BE49-F238E27FC236}">
                <a16:creationId xmlns:a16="http://schemas.microsoft.com/office/drawing/2014/main" id="{B4F52C58-5BF3-40EA-A804-6003FEC24A7B}"/>
              </a:ext>
            </a:extLst>
          </p:cNvPr>
          <p:cNvSpPr/>
          <p:nvPr/>
        </p:nvSpPr>
        <p:spPr>
          <a:xfrm>
            <a:off x="6096177" y="3814015"/>
            <a:ext cx="2613891" cy="52099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塑造更成熟公司形象</a:t>
            </a:r>
          </a:p>
        </p:txBody>
      </p:sp>
      <p:sp>
        <p:nvSpPr>
          <p:cNvPr id="34" name="矩形: 圆角 33">
            <a:extLst>
              <a:ext uri="{FF2B5EF4-FFF2-40B4-BE49-F238E27FC236}">
                <a16:creationId xmlns:a16="http://schemas.microsoft.com/office/drawing/2014/main" id="{BA73A1EA-09B8-400E-9E53-C9AB809E898F}"/>
              </a:ext>
            </a:extLst>
          </p:cNvPr>
          <p:cNvSpPr/>
          <p:nvPr/>
        </p:nvSpPr>
        <p:spPr>
          <a:xfrm>
            <a:off x="6096000" y="1802986"/>
            <a:ext cx="2613891" cy="52099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减少单一市场依赖</a:t>
            </a:r>
          </a:p>
        </p:txBody>
      </p:sp>
      <p:sp>
        <p:nvSpPr>
          <p:cNvPr id="35" name="矩形: 圆角 34">
            <a:extLst>
              <a:ext uri="{FF2B5EF4-FFF2-40B4-BE49-F238E27FC236}">
                <a16:creationId xmlns:a16="http://schemas.microsoft.com/office/drawing/2014/main" id="{288AAB7C-FCD2-46CC-928C-580E6964272B}"/>
              </a:ext>
            </a:extLst>
          </p:cNvPr>
          <p:cNvSpPr/>
          <p:nvPr/>
        </p:nvSpPr>
        <p:spPr>
          <a:xfrm>
            <a:off x="8813977" y="3814015"/>
            <a:ext cx="2613891" cy="52099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获取新可持续发展空间</a:t>
            </a:r>
          </a:p>
        </p:txBody>
      </p:sp>
      <p:sp>
        <p:nvSpPr>
          <p:cNvPr id="36" name="文本框 35">
            <a:extLst>
              <a:ext uri="{FF2B5EF4-FFF2-40B4-BE49-F238E27FC236}">
                <a16:creationId xmlns:a16="http://schemas.microsoft.com/office/drawing/2014/main" id="{93306C66-65E6-4EA3-B6F0-7BE88291EDAD}"/>
              </a:ext>
            </a:extLst>
          </p:cNvPr>
          <p:cNvSpPr txBox="1"/>
          <p:nvPr/>
        </p:nvSpPr>
        <p:spPr>
          <a:xfrm>
            <a:off x="6154998" y="4320803"/>
            <a:ext cx="2623810" cy="1997342"/>
          </a:xfrm>
          <a:prstGeom prst="rect">
            <a:avLst/>
          </a:prstGeom>
          <a:noFill/>
        </p:spPr>
        <p:txBody>
          <a:bodyPr wrap="square">
            <a:spAutoFit/>
          </a:bodyPr>
          <a:lstStyle/>
          <a:p>
            <a:pPr indent="360000">
              <a:lnSpc>
                <a:spcPct val="150000"/>
              </a:lnSpc>
            </a:pPr>
            <a:r>
              <a:rPr lang="zh-CN" altLang="en-US" sz="1400" dirty="0">
                <a:solidFill>
                  <a:srgbClr val="000000"/>
                </a:solidFill>
                <a:latin typeface="AAAAAH+NotoSansCJKsc-Light"/>
              </a:rPr>
              <a:t>通过成功的出海，公司证明产品满⾜多元化的需求，团队可以应对复杂的运营环境</a:t>
            </a:r>
            <a:r>
              <a:rPr lang="en-US" altLang="zh-CN" sz="1400" dirty="0">
                <a:solidFill>
                  <a:srgbClr val="000000"/>
                </a:solidFill>
                <a:latin typeface="AAAAAH+NotoSansCJKsc-Light"/>
              </a:rPr>
              <a:t>.</a:t>
            </a:r>
            <a:endParaRPr lang="zh-CN" altLang="en-US" sz="1400" dirty="0">
              <a:solidFill>
                <a:srgbClr val="000000"/>
              </a:solidFill>
              <a:latin typeface="AAAAAH+NotoSansCJKsc-Light"/>
            </a:endParaRPr>
          </a:p>
          <a:p>
            <a:pPr indent="360000">
              <a:lnSpc>
                <a:spcPct val="150000"/>
              </a:lnSpc>
            </a:pPr>
            <a:r>
              <a:rPr lang="zh-CN" altLang="en-US" sz="1400" dirty="0">
                <a:solidFill>
                  <a:srgbClr val="000000"/>
                </a:solidFill>
                <a:latin typeface="AAAAAH+NotoSansCJKsc-Light"/>
              </a:rPr>
              <a:t>这可以为企业提供信任状，而开源⽬前多数针对</a:t>
            </a:r>
            <a:r>
              <a:rPr lang="en-US" altLang="zh-CN" sz="1400" dirty="0">
                <a:solidFill>
                  <a:srgbClr val="000000"/>
                </a:solidFill>
                <a:latin typeface="AAAAAH+NotoSansCJKsc-Light"/>
              </a:rPr>
              <a:t>TOB</a:t>
            </a:r>
            <a:r>
              <a:rPr lang="zh-CN" altLang="en-US" sz="1400" dirty="0">
                <a:solidFill>
                  <a:srgbClr val="000000"/>
                </a:solidFill>
                <a:latin typeface="AAAAAH+NotoSansCJKsc-Light"/>
              </a:rPr>
              <a:t>端⽤⼾，最重要的获客能⼒就是信任状。</a:t>
            </a:r>
            <a:endParaRPr lang="en-US" altLang="zh-CN" sz="1400" dirty="0">
              <a:solidFill>
                <a:srgbClr val="000000"/>
              </a:solidFill>
              <a:latin typeface="AAAAAH+NotoSansCJKsc-Light"/>
            </a:endParaRPr>
          </a:p>
        </p:txBody>
      </p:sp>
      <p:pic>
        <p:nvPicPr>
          <p:cNvPr id="14" name="图片 13">
            <a:extLst>
              <a:ext uri="{FF2B5EF4-FFF2-40B4-BE49-F238E27FC236}">
                <a16:creationId xmlns:a16="http://schemas.microsoft.com/office/drawing/2014/main" id="{80BABF1E-0867-43F2-A703-FB7B2986BE37}"/>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58204" y="1984157"/>
            <a:ext cx="2669664" cy="1650443"/>
          </a:xfrm>
          <a:prstGeom prst="rect">
            <a:avLst/>
          </a:prstGeom>
        </p:spPr>
      </p:pic>
      <p:sp>
        <p:nvSpPr>
          <p:cNvPr id="37" name="文本框 36">
            <a:extLst>
              <a:ext uri="{FF2B5EF4-FFF2-40B4-BE49-F238E27FC236}">
                <a16:creationId xmlns:a16="http://schemas.microsoft.com/office/drawing/2014/main" id="{0C35AC97-FFAF-451A-81CC-13CEB4D9BE61}"/>
              </a:ext>
            </a:extLst>
          </p:cNvPr>
          <p:cNvSpPr txBox="1"/>
          <p:nvPr/>
        </p:nvSpPr>
        <p:spPr>
          <a:xfrm>
            <a:off x="6102585" y="2308116"/>
            <a:ext cx="2623810" cy="1351011"/>
          </a:xfrm>
          <a:prstGeom prst="rect">
            <a:avLst/>
          </a:prstGeom>
          <a:noFill/>
        </p:spPr>
        <p:txBody>
          <a:bodyPr wrap="square">
            <a:spAutoFit/>
          </a:bodyPr>
          <a:lstStyle/>
          <a:p>
            <a:pPr indent="360000">
              <a:lnSpc>
                <a:spcPct val="150000"/>
              </a:lnSpc>
            </a:pPr>
            <a:r>
              <a:rPr lang="zh-CN" altLang="en-US" sz="1400" dirty="0">
                <a:solidFill>
                  <a:srgbClr val="000000"/>
                </a:solidFill>
                <a:latin typeface="AAAAAH+NotoSansCJKsc-Light"/>
              </a:rPr>
              <a:t>在软件市场竞争越来越激烈的今天，完全依赖于 本⼟市场会导致市场内的任意波动都会给公司带来极⼤的影响。</a:t>
            </a:r>
            <a:endParaRPr lang="en-US" altLang="zh-CN" sz="1400" dirty="0">
              <a:solidFill>
                <a:srgbClr val="000000"/>
              </a:solidFill>
              <a:latin typeface="AAAAAH+NotoSansCJKsc-Light"/>
            </a:endParaRPr>
          </a:p>
        </p:txBody>
      </p:sp>
      <p:grpSp>
        <p:nvGrpSpPr>
          <p:cNvPr id="38" name="组合 37">
            <a:extLst>
              <a:ext uri="{FF2B5EF4-FFF2-40B4-BE49-F238E27FC236}">
                <a16:creationId xmlns:a16="http://schemas.microsoft.com/office/drawing/2014/main" id="{149517A8-2671-4B24-AE67-7BE31E049651}"/>
              </a:ext>
            </a:extLst>
          </p:cNvPr>
          <p:cNvGrpSpPr/>
          <p:nvPr/>
        </p:nvGrpSpPr>
        <p:grpSpPr>
          <a:xfrm>
            <a:off x="8860157" y="4455210"/>
            <a:ext cx="2567711" cy="1955110"/>
            <a:chOff x="1090832" y="4422603"/>
            <a:chExt cx="4853843" cy="1691874"/>
          </a:xfrm>
        </p:grpSpPr>
        <p:sp>
          <p:nvSpPr>
            <p:cNvPr id="39" name="矩形 38">
              <a:extLst>
                <a:ext uri="{FF2B5EF4-FFF2-40B4-BE49-F238E27FC236}">
                  <a16:creationId xmlns:a16="http://schemas.microsoft.com/office/drawing/2014/main" id="{D34FE162-9122-40F9-9B7A-99966EDEF0C1}"/>
                </a:ext>
              </a:extLst>
            </p:cNvPr>
            <p:cNvSpPr/>
            <p:nvPr/>
          </p:nvSpPr>
          <p:spPr>
            <a:xfrm>
              <a:off x="1090832" y="4422603"/>
              <a:ext cx="4792731" cy="1691874"/>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文本框 39">
              <a:extLst>
                <a:ext uri="{FF2B5EF4-FFF2-40B4-BE49-F238E27FC236}">
                  <a16:creationId xmlns:a16="http://schemas.microsoft.com/office/drawing/2014/main" id="{F303FA8A-81A9-4118-838A-3E5A70F27F5E}"/>
                </a:ext>
              </a:extLst>
            </p:cNvPr>
            <p:cNvSpPr txBox="1"/>
            <p:nvPr/>
          </p:nvSpPr>
          <p:spPr>
            <a:xfrm>
              <a:off x="1152332" y="4514963"/>
              <a:ext cx="4792343" cy="1305387"/>
            </a:xfrm>
            <a:prstGeom prst="rect">
              <a:avLst/>
            </a:prstGeom>
            <a:noFill/>
          </p:spPr>
          <p:txBody>
            <a:bodyPr wrap="square" rtlCol="0">
              <a:spAutoFit/>
            </a:bodyPr>
            <a:lstStyle/>
            <a:p>
              <a:pPr marL="285750" indent="-285750">
                <a:lnSpc>
                  <a:spcPct val="170000"/>
                </a:lnSpc>
                <a:buFont typeface="Wingdings" panose="05000000000000000000" pitchFamily="2" charset="2"/>
                <a:buChar char="l"/>
              </a:pPr>
              <a:r>
                <a:rPr lang="zh-CN" altLang="en-US" sz="1400" kern="1400" dirty="0">
                  <a:solidFill>
                    <a:srgbClr val="2F2F2F"/>
                  </a:solidFill>
                  <a:latin typeface="微软雅黑" panose="020B0503020204020204" pitchFamily="34" charset="-122"/>
                  <a:ea typeface="微软雅黑" panose="020B0503020204020204" pitchFamily="34" charset="-122"/>
                </a:rPr>
                <a:t>海外更成熟的市场规模</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70000"/>
                </a:lnSpc>
                <a:buFont typeface="Wingdings" panose="05000000000000000000" pitchFamily="2" charset="2"/>
                <a:buChar char="l"/>
              </a:pPr>
              <a:r>
                <a:rPr lang="zh-CN" altLang="en-US" sz="1400" kern="1400" dirty="0">
                  <a:solidFill>
                    <a:srgbClr val="2F2F2F"/>
                  </a:solidFill>
                  <a:latin typeface="微软雅黑" panose="020B0503020204020204" pitchFamily="34" charset="-122"/>
                  <a:ea typeface="微软雅黑" panose="020B0503020204020204" pitchFamily="34" charset="-122"/>
                </a:rPr>
                <a:t>客户更强的付费意愿</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70000"/>
                </a:lnSpc>
                <a:buFont typeface="Wingdings" panose="05000000000000000000" pitchFamily="2" charset="2"/>
                <a:buChar char="l"/>
              </a:pPr>
              <a:r>
                <a:rPr lang="zh-CN" altLang="en-US" sz="1400" kern="1400" dirty="0">
                  <a:solidFill>
                    <a:srgbClr val="2F2F2F"/>
                  </a:solidFill>
                  <a:latin typeface="微软雅黑" panose="020B0503020204020204" pitchFamily="34" charset="-122"/>
                  <a:ea typeface="微软雅黑" panose="020B0503020204020204" pitchFamily="34" charset="-122"/>
                </a:rPr>
                <a:t>更高的软件价格</a:t>
              </a:r>
              <a:endParaRPr lang="en-US" altLang="zh-CN" sz="1400" kern="1400" dirty="0">
                <a:solidFill>
                  <a:srgbClr val="2F2F2F"/>
                </a:solidFill>
                <a:latin typeface="微软雅黑" panose="020B0503020204020204" pitchFamily="34" charset="-122"/>
                <a:ea typeface="微软雅黑" panose="020B0503020204020204" pitchFamily="34" charset="-122"/>
              </a:endParaRPr>
            </a:p>
            <a:p>
              <a:pPr marL="285750" indent="-285750">
                <a:lnSpc>
                  <a:spcPct val="170000"/>
                </a:lnSpc>
                <a:buFont typeface="Wingdings" panose="05000000000000000000" pitchFamily="2" charset="2"/>
                <a:buChar char="l"/>
              </a:pPr>
              <a:r>
                <a:rPr lang="zh-CN" altLang="en-US" sz="1400" kern="1400" dirty="0">
                  <a:solidFill>
                    <a:srgbClr val="2F2F2F"/>
                  </a:solidFill>
                  <a:latin typeface="微软雅黑" panose="020B0503020204020204" pitchFamily="34" charset="-122"/>
                  <a:ea typeface="微软雅黑" panose="020B0503020204020204" pitchFamily="34" charset="-122"/>
                </a:rPr>
                <a:t>更广阔的人才来源</a:t>
              </a:r>
              <a:endParaRPr lang="en-US" altLang="zh-CN" sz="1400" kern="1400" dirty="0">
                <a:solidFill>
                  <a:srgbClr val="2F2F2F"/>
                </a:solidFill>
                <a:latin typeface="微软雅黑" panose="020B0503020204020204" pitchFamily="34" charset="-122"/>
                <a:ea typeface="微软雅黑" panose="020B0503020204020204" pitchFamily="34" charset="-122"/>
              </a:endParaRPr>
            </a:p>
          </p:txBody>
        </p:sp>
      </p:grpSp>
      <p:sp>
        <p:nvSpPr>
          <p:cNvPr id="4" name="灯片编号占位符 3">
            <a:extLst>
              <a:ext uri="{FF2B5EF4-FFF2-40B4-BE49-F238E27FC236}">
                <a16:creationId xmlns:a16="http://schemas.microsoft.com/office/drawing/2014/main" id="{E2BFD409-25FE-4999-AC90-DC45141D9D7F}"/>
              </a:ext>
            </a:extLst>
          </p:cNvPr>
          <p:cNvSpPr>
            <a:spLocks noGrp="1"/>
          </p:cNvSpPr>
          <p:nvPr>
            <p:ph type="sldNum" sz="quarter" idx="12"/>
          </p:nvPr>
        </p:nvSpPr>
        <p:spPr/>
        <p:txBody>
          <a:bodyPr/>
          <a:lstStyle/>
          <a:p>
            <a:fld id="{65703A48-C316-4AA3-8E4E-4433376E065D}" type="slidenum">
              <a:rPr lang="zh-CN" altLang="en-US" smtClean="0"/>
              <a:t>7</a:t>
            </a:fld>
            <a:endParaRPr lang="zh-CN" altLang="en-US"/>
          </a:p>
        </p:txBody>
      </p:sp>
      <p:pic>
        <p:nvPicPr>
          <p:cNvPr id="23" name="Picture 17" descr="Logo&#10;&#10;Description automatically generated with low confidence">
            <a:extLst>
              <a:ext uri="{FF2B5EF4-FFF2-40B4-BE49-F238E27FC236}">
                <a16:creationId xmlns:a16="http://schemas.microsoft.com/office/drawing/2014/main" id="{FDABFE8E-81BB-4A48-A768-589816795DFD}"/>
              </a:ext>
            </a:extLst>
          </p:cNvPr>
          <p:cNvPicPr/>
          <p:nvPr/>
        </p:nvPicPr>
        <p:blipFill rotWithShape="1">
          <a:blip r:embed="rId3">
            <a:clrChange>
              <a:clrFrom>
                <a:srgbClr val="FFFFFF"/>
              </a:clrFrom>
              <a:clrTo>
                <a:srgbClr val="FFFFFF">
                  <a:alpha val="0"/>
                </a:srgbClr>
              </a:clrTo>
            </a:clrChange>
          </a:blip>
          <a:srcRect r="54777" b="54010"/>
          <a:stretch/>
        </p:blipFill>
        <p:spPr>
          <a:xfrm>
            <a:off x="1090833" y="4299806"/>
            <a:ext cx="612839" cy="525824"/>
          </a:xfrm>
          <a:prstGeom prst="rect">
            <a:avLst/>
          </a:prstGeom>
        </p:spPr>
      </p:pic>
      <p:pic>
        <p:nvPicPr>
          <p:cNvPr id="24" name="Picture 17" descr="Logo&#10;&#10;Description automatically generated with low confidence">
            <a:extLst>
              <a:ext uri="{FF2B5EF4-FFF2-40B4-BE49-F238E27FC236}">
                <a16:creationId xmlns:a16="http://schemas.microsoft.com/office/drawing/2014/main" id="{30590B71-5AE7-4307-BFAE-BB8DB5830EAD}"/>
              </a:ext>
            </a:extLst>
          </p:cNvPr>
          <p:cNvPicPr/>
          <p:nvPr/>
        </p:nvPicPr>
        <p:blipFill rotWithShape="1">
          <a:blip r:embed="rId3">
            <a:clrChange>
              <a:clrFrom>
                <a:srgbClr val="FFFFFF"/>
              </a:clrFrom>
              <a:clrTo>
                <a:srgbClr val="FFFFFF">
                  <a:alpha val="0"/>
                </a:srgbClr>
              </a:clrTo>
            </a:clrChange>
          </a:blip>
          <a:srcRect l="42351" b="48148"/>
          <a:stretch/>
        </p:blipFill>
        <p:spPr>
          <a:xfrm>
            <a:off x="3311890" y="4316810"/>
            <a:ext cx="718200" cy="545017"/>
          </a:xfrm>
          <a:prstGeom prst="rect">
            <a:avLst/>
          </a:prstGeom>
        </p:spPr>
      </p:pic>
      <p:pic>
        <p:nvPicPr>
          <p:cNvPr id="25" name="Picture 17" descr="Logo&#10;&#10;Description automatically generated with low confidence">
            <a:extLst>
              <a:ext uri="{FF2B5EF4-FFF2-40B4-BE49-F238E27FC236}">
                <a16:creationId xmlns:a16="http://schemas.microsoft.com/office/drawing/2014/main" id="{5F395BC9-31B6-48AB-8F9D-CC812E831257}"/>
              </a:ext>
            </a:extLst>
          </p:cNvPr>
          <p:cNvPicPr/>
          <p:nvPr/>
        </p:nvPicPr>
        <p:blipFill rotWithShape="1">
          <a:blip r:embed="rId3">
            <a:clrChange>
              <a:clrFrom>
                <a:srgbClr val="FFFFFF"/>
              </a:clrFrom>
              <a:clrTo>
                <a:srgbClr val="FFFFFF">
                  <a:alpha val="0"/>
                </a:srgbClr>
              </a:clrTo>
            </a:clrChange>
          </a:blip>
          <a:srcRect l="43885" t="51134"/>
          <a:stretch/>
        </p:blipFill>
        <p:spPr>
          <a:xfrm>
            <a:off x="3326454" y="5365058"/>
            <a:ext cx="893685" cy="656589"/>
          </a:xfrm>
          <a:prstGeom prst="rect">
            <a:avLst/>
          </a:prstGeom>
        </p:spPr>
      </p:pic>
      <p:pic>
        <p:nvPicPr>
          <p:cNvPr id="26" name="Picture 17" descr="Logo&#10;&#10;Description automatically generated with low confidence">
            <a:extLst>
              <a:ext uri="{FF2B5EF4-FFF2-40B4-BE49-F238E27FC236}">
                <a16:creationId xmlns:a16="http://schemas.microsoft.com/office/drawing/2014/main" id="{E7219FC2-46A5-4E3A-8D84-1A8ACE7E4FE1}"/>
              </a:ext>
            </a:extLst>
          </p:cNvPr>
          <p:cNvPicPr/>
          <p:nvPr/>
        </p:nvPicPr>
        <p:blipFill rotWithShape="1">
          <a:blip r:embed="rId3">
            <a:clrChange>
              <a:clrFrom>
                <a:srgbClr val="FFFFFF"/>
              </a:clrFrom>
              <a:clrTo>
                <a:srgbClr val="FFFFFF">
                  <a:alpha val="0"/>
                </a:srgbClr>
              </a:clrTo>
            </a:clrChange>
          </a:blip>
          <a:srcRect t="48148" r="56353"/>
          <a:stretch/>
        </p:blipFill>
        <p:spPr>
          <a:xfrm>
            <a:off x="1044255" y="5361885"/>
            <a:ext cx="695113" cy="696714"/>
          </a:xfrm>
          <a:prstGeom prst="rect">
            <a:avLst/>
          </a:prstGeom>
        </p:spPr>
      </p:pic>
      <p:pic>
        <p:nvPicPr>
          <p:cNvPr id="7" name="图片 6">
            <a:extLst>
              <a:ext uri="{FF2B5EF4-FFF2-40B4-BE49-F238E27FC236}">
                <a16:creationId xmlns:a16="http://schemas.microsoft.com/office/drawing/2014/main" id="{E9B9809F-5842-4E4C-B3C3-F8A7365F57E0}"/>
              </a:ext>
            </a:extLst>
          </p:cNvPr>
          <p:cNvPicPr>
            <a:picLocks noChangeAspect="1"/>
          </p:cNvPicPr>
          <p:nvPr/>
        </p:nvPicPr>
        <p:blipFill>
          <a:blip r:embed="rId4"/>
          <a:stretch>
            <a:fillRect/>
          </a:stretch>
        </p:blipFill>
        <p:spPr>
          <a:xfrm>
            <a:off x="1093351" y="1871054"/>
            <a:ext cx="4790980" cy="2584156"/>
          </a:xfrm>
          <a:prstGeom prst="rect">
            <a:avLst/>
          </a:prstGeom>
          <a:ln>
            <a:noFill/>
          </a:ln>
        </p:spPr>
      </p:pic>
      <p:sp>
        <p:nvSpPr>
          <p:cNvPr id="28" name="文本框 27">
            <a:extLst>
              <a:ext uri="{FF2B5EF4-FFF2-40B4-BE49-F238E27FC236}">
                <a16:creationId xmlns:a16="http://schemas.microsoft.com/office/drawing/2014/main" id="{9FF20713-B0CA-4E5A-92A8-8FEA96D215BA}"/>
              </a:ext>
            </a:extLst>
          </p:cNvPr>
          <p:cNvSpPr txBox="1"/>
          <p:nvPr/>
        </p:nvSpPr>
        <p:spPr>
          <a:xfrm>
            <a:off x="2199384" y="3468354"/>
            <a:ext cx="4386332" cy="338554"/>
          </a:xfrm>
          <a:prstGeom prst="rect">
            <a:avLst/>
          </a:prstGeom>
          <a:noFill/>
        </p:spPr>
        <p:txBody>
          <a:bodyPr wrap="square" rtlCol="0">
            <a:spAutoFit/>
          </a:bodyPr>
          <a:lstStyle/>
          <a:p>
            <a:pPr algn="ctr"/>
            <a:r>
              <a:rPr lang="en-US" altLang="zh-CN" sz="1600" dirty="0" err="1">
                <a:solidFill>
                  <a:schemeClr val="tx1"/>
                </a:solidFill>
                <a:latin typeface="微软雅黑" charset="0"/>
                <a:ea typeface="微软雅黑" charset="0"/>
                <a:cs typeface="Microsoft YaHei" charset="0"/>
              </a:rPr>
              <a:t>Github</a:t>
            </a:r>
            <a:r>
              <a:rPr lang="zh-CN" altLang="en-US" sz="1600" dirty="0">
                <a:solidFill>
                  <a:schemeClr val="tx1"/>
                </a:solidFill>
                <a:latin typeface="微软雅黑" charset="0"/>
                <a:ea typeface="微软雅黑" charset="0"/>
                <a:cs typeface="Microsoft YaHei" charset="0"/>
              </a:rPr>
              <a:t>全球用户分布</a:t>
            </a:r>
            <a:endParaRPr lang="zh-CN" altLang="en-US" sz="1600" dirty="0"/>
          </a:p>
        </p:txBody>
      </p:sp>
      <p:sp>
        <p:nvSpPr>
          <p:cNvPr id="29" name="文本框 28">
            <a:extLst>
              <a:ext uri="{FF2B5EF4-FFF2-40B4-BE49-F238E27FC236}">
                <a16:creationId xmlns:a16="http://schemas.microsoft.com/office/drawing/2014/main" id="{6550AAD5-49C5-4E11-B913-7B34DC7FE0B3}"/>
              </a:ext>
            </a:extLst>
          </p:cNvPr>
          <p:cNvSpPr txBox="1"/>
          <p:nvPr/>
        </p:nvSpPr>
        <p:spPr>
          <a:xfrm>
            <a:off x="1811045" y="4355276"/>
            <a:ext cx="1018783" cy="396583"/>
          </a:xfrm>
          <a:prstGeom prst="rect">
            <a:avLst/>
          </a:prstGeom>
          <a:noFill/>
        </p:spPr>
        <p:txBody>
          <a:bodyPr wrap="square" rtlCol="0">
            <a:spAutoFit/>
          </a:bodyPr>
          <a:lstStyle/>
          <a:p>
            <a:pPr>
              <a:lnSpc>
                <a:spcPct val="120000"/>
              </a:lnSpc>
            </a:pPr>
            <a:r>
              <a:rPr lang="en-US" altLang="zh-CN" b="1" kern="1400" dirty="0">
                <a:solidFill>
                  <a:srgbClr val="2F2F2F"/>
                </a:solidFill>
                <a:latin typeface="微软雅黑" panose="020B0503020204020204" pitchFamily="34" charset="-122"/>
                <a:ea typeface="微软雅黑" panose="020B0503020204020204" pitchFamily="34" charset="-122"/>
              </a:rPr>
              <a:t>Gitlab</a:t>
            </a:r>
          </a:p>
        </p:txBody>
      </p:sp>
      <p:sp>
        <p:nvSpPr>
          <p:cNvPr id="30" name="文本框 29">
            <a:extLst>
              <a:ext uri="{FF2B5EF4-FFF2-40B4-BE49-F238E27FC236}">
                <a16:creationId xmlns:a16="http://schemas.microsoft.com/office/drawing/2014/main" id="{83CD418B-B2D1-489C-972F-3A5737F2CAFA}"/>
              </a:ext>
            </a:extLst>
          </p:cNvPr>
          <p:cNvSpPr txBox="1"/>
          <p:nvPr/>
        </p:nvSpPr>
        <p:spPr>
          <a:xfrm>
            <a:off x="1209192" y="4782364"/>
            <a:ext cx="2170530" cy="591572"/>
          </a:xfrm>
          <a:prstGeom prst="rect">
            <a:avLst/>
          </a:prstGeom>
          <a:noFill/>
        </p:spPr>
        <p:txBody>
          <a:bodyPr wrap="square" rtlCol="0">
            <a:spAutoFit/>
          </a:bodyPr>
          <a:lstStyle/>
          <a:p>
            <a:pPr algn="ctr">
              <a:lnSpc>
                <a:spcPct val="120000"/>
              </a:lnSpc>
            </a:pPr>
            <a:r>
              <a:rPr lang="zh-CN" altLang="en-US" sz="1400" dirty="0">
                <a:solidFill>
                  <a:srgbClr val="000000"/>
                </a:solidFill>
                <a:latin typeface="AAAAAH+NotoSansCJKsc-Light"/>
              </a:rPr>
              <a:t>通过合资公司的模式成⽴极狐并成功打⼊中国市场</a:t>
            </a:r>
            <a:endParaRPr lang="en-US" altLang="zh-CN" sz="1400" dirty="0">
              <a:solidFill>
                <a:srgbClr val="000000"/>
              </a:solidFill>
              <a:latin typeface="AAAAAH+NotoSansCJKsc-Light"/>
            </a:endParaRPr>
          </a:p>
        </p:txBody>
      </p:sp>
      <p:sp>
        <p:nvSpPr>
          <p:cNvPr id="31" name="文本框 30">
            <a:extLst>
              <a:ext uri="{FF2B5EF4-FFF2-40B4-BE49-F238E27FC236}">
                <a16:creationId xmlns:a16="http://schemas.microsoft.com/office/drawing/2014/main" id="{19520A00-70B0-4B6D-BD8D-7C0FE0083854}"/>
              </a:ext>
            </a:extLst>
          </p:cNvPr>
          <p:cNvSpPr txBox="1"/>
          <p:nvPr/>
        </p:nvSpPr>
        <p:spPr>
          <a:xfrm>
            <a:off x="4107503" y="4364152"/>
            <a:ext cx="1018783" cy="396583"/>
          </a:xfrm>
          <a:prstGeom prst="rect">
            <a:avLst/>
          </a:prstGeom>
          <a:noFill/>
        </p:spPr>
        <p:txBody>
          <a:bodyPr wrap="square" rtlCol="0">
            <a:spAutoFit/>
          </a:bodyPr>
          <a:lstStyle/>
          <a:p>
            <a:pPr>
              <a:lnSpc>
                <a:spcPct val="120000"/>
              </a:lnSpc>
            </a:pPr>
            <a:r>
              <a:rPr lang="en-US" altLang="zh-CN" b="1" kern="1400" dirty="0" err="1">
                <a:solidFill>
                  <a:srgbClr val="2F2F2F"/>
                </a:solidFill>
                <a:latin typeface="微软雅黑" panose="020B0503020204020204" pitchFamily="34" charset="-122"/>
                <a:ea typeface="微软雅黑" panose="020B0503020204020204" pitchFamily="34" charset="-122"/>
              </a:rPr>
              <a:t>Redhat</a:t>
            </a:r>
            <a:endParaRPr lang="en-US" altLang="zh-CN" b="1" kern="1400" dirty="0">
              <a:solidFill>
                <a:srgbClr val="2F2F2F"/>
              </a:solidFill>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FA5952A6-65CD-4C36-932D-EDA7421F91C7}"/>
              </a:ext>
            </a:extLst>
          </p:cNvPr>
          <p:cNvSpPr txBox="1"/>
          <p:nvPr/>
        </p:nvSpPr>
        <p:spPr>
          <a:xfrm>
            <a:off x="3452382" y="4800120"/>
            <a:ext cx="2623810" cy="334066"/>
          </a:xfrm>
          <a:prstGeom prst="rect">
            <a:avLst/>
          </a:prstGeom>
          <a:noFill/>
        </p:spPr>
        <p:txBody>
          <a:bodyPr wrap="square" rtlCol="0">
            <a:spAutoFit/>
          </a:bodyPr>
          <a:lstStyle/>
          <a:p>
            <a:pPr algn="ctr">
              <a:lnSpc>
                <a:spcPct val="120000"/>
              </a:lnSpc>
            </a:pPr>
            <a:r>
              <a:rPr lang="zh-CN" altLang="en-US" sz="1400" dirty="0">
                <a:solidFill>
                  <a:srgbClr val="000000"/>
                </a:solidFill>
                <a:latin typeface="AAAAAH+NotoSansCJKsc-Light"/>
              </a:rPr>
              <a:t>合作伙伴生态系统遍布全球</a:t>
            </a:r>
            <a:endParaRPr lang="en-US" altLang="zh-CN" sz="1400" dirty="0">
              <a:solidFill>
                <a:srgbClr val="000000"/>
              </a:solidFill>
              <a:latin typeface="AAAAAH+NotoSansCJKsc-Light"/>
            </a:endParaRPr>
          </a:p>
        </p:txBody>
      </p:sp>
      <p:sp>
        <p:nvSpPr>
          <p:cNvPr id="33" name="文本框 32">
            <a:extLst>
              <a:ext uri="{FF2B5EF4-FFF2-40B4-BE49-F238E27FC236}">
                <a16:creationId xmlns:a16="http://schemas.microsoft.com/office/drawing/2014/main" id="{7D3CDB70-71A9-4D54-A190-4573E5A028E0}"/>
              </a:ext>
            </a:extLst>
          </p:cNvPr>
          <p:cNvSpPr txBox="1"/>
          <p:nvPr/>
        </p:nvSpPr>
        <p:spPr>
          <a:xfrm>
            <a:off x="1811045" y="5479096"/>
            <a:ext cx="1778004" cy="396583"/>
          </a:xfrm>
          <a:prstGeom prst="rect">
            <a:avLst/>
          </a:prstGeom>
          <a:noFill/>
        </p:spPr>
        <p:txBody>
          <a:bodyPr wrap="square" rtlCol="0">
            <a:spAutoFit/>
          </a:bodyPr>
          <a:lstStyle/>
          <a:p>
            <a:pPr>
              <a:lnSpc>
                <a:spcPct val="120000"/>
              </a:lnSpc>
            </a:pPr>
            <a:r>
              <a:rPr lang="en-US" altLang="zh-CN" b="1" kern="1400" dirty="0">
                <a:solidFill>
                  <a:srgbClr val="2F2F2F"/>
                </a:solidFill>
                <a:latin typeface="微软雅黑" panose="020B0503020204020204" pitchFamily="34" charset="-122"/>
                <a:ea typeface="微软雅黑" panose="020B0503020204020204" pitchFamily="34" charset="-122"/>
              </a:rPr>
              <a:t>Confluent</a:t>
            </a:r>
          </a:p>
        </p:txBody>
      </p:sp>
      <p:sp>
        <p:nvSpPr>
          <p:cNvPr id="41" name="文本框 40">
            <a:extLst>
              <a:ext uri="{FF2B5EF4-FFF2-40B4-BE49-F238E27FC236}">
                <a16:creationId xmlns:a16="http://schemas.microsoft.com/office/drawing/2014/main" id="{42CF9EC4-FA75-4A63-9F03-0484E24B8DA4}"/>
              </a:ext>
            </a:extLst>
          </p:cNvPr>
          <p:cNvSpPr txBox="1"/>
          <p:nvPr/>
        </p:nvSpPr>
        <p:spPr>
          <a:xfrm>
            <a:off x="1253582" y="5932819"/>
            <a:ext cx="2170530" cy="592150"/>
          </a:xfrm>
          <a:prstGeom prst="rect">
            <a:avLst/>
          </a:prstGeom>
          <a:noFill/>
        </p:spPr>
        <p:txBody>
          <a:bodyPr wrap="square" rtlCol="0">
            <a:spAutoFit/>
          </a:bodyPr>
          <a:lstStyle/>
          <a:p>
            <a:pPr algn="ctr">
              <a:lnSpc>
                <a:spcPct val="120000"/>
              </a:lnSpc>
            </a:pPr>
            <a:r>
              <a:rPr lang="zh-CN" altLang="en-US" sz="1400" dirty="0">
                <a:solidFill>
                  <a:srgbClr val="000000"/>
                </a:solidFill>
                <a:latin typeface="AAAAAH+NotoSansCJKsc-Light"/>
              </a:rPr>
              <a:t>从</a:t>
            </a:r>
            <a:r>
              <a:rPr lang="en-US" altLang="zh-CN" sz="1400" dirty="0" err="1">
                <a:solidFill>
                  <a:srgbClr val="000000"/>
                </a:solidFill>
                <a:latin typeface="AAAAAH+NotoSansCJKsc-Light"/>
              </a:rPr>
              <a:t>Redhat</a:t>
            </a:r>
            <a:r>
              <a:rPr lang="zh-CN" altLang="en-US" sz="1400" dirty="0">
                <a:solidFill>
                  <a:srgbClr val="000000"/>
                </a:solidFill>
                <a:latin typeface="AAAAAH+NotoSansCJKsc-Light"/>
              </a:rPr>
              <a:t>招聘经验丰富的员工服务亚洲客户</a:t>
            </a:r>
            <a:endParaRPr lang="en-US" altLang="zh-CN" sz="1400" dirty="0">
              <a:solidFill>
                <a:srgbClr val="000000"/>
              </a:solidFill>
              <a:latin typeface="AAAAAH+NotoSansCJKsc-Light"/>
            </a:endParaRPr>
          </a:p>
        </p:txBody>
      </p:sp>
      <p:sp>
        <p:nvSpPr>
          <p:cNvPr id="42" name="文本框 41">
            <a:extLst>
              <a:ext uri="{FF2B5EF4-FFF2-40B4-BE49-F238E27FC236}">
                <a16:creationId xmlns:a16="http://schemas.microsoft.com/office/drawing/2014/main" id="{63895685-F09C-4245-9750-2EE42130088D}"/>
              </a:ext>
            </a:extLst>
          </p:cNvPr>
          <p:cNvSpPr txBox="1"/>
          <p:nvPr/>
        </p:nvSpPr>
        <p:spPr>
          <a:xfrm>
            <a:off x="4122779" y="5479096"/>
            <a:ext cx="1778004" cy="396583"/>
          </a:xfrm>
          <a:prstGeom prst="rect">
            <a:avLst/>
          </a:prstGeom>
          <a:noFill/>
        </p:spPr>
        <p:txBody>
          <a:bodyPr wrap="square" rtlCol="0">
            <a:spAutoFit/>
          </a:bodyPr>
          <a:lstStyle/>
          <a:p>
            <a:pPr>
              <a:lnSpc>
                <a:spcPct val="120000"/>
              </a:lnSpc>
            </a:pPr>
            <a:r>
              <a:rPr lang="en-US" altLang="zh-CN" b="1" kern="1400" dirty="0">
                <a:solidFill>
                  <a:srgbClr val="2F2F2F"/>
                </a:solidFill>
                <a:latin typeface="微软雅黑" panose="020B0503020204020204" pitchFamily="34" charset="-122"/>
                <a:ea typeface="微软雅黑" panose="020B0503020204020204" pitchFamily="34" charset="-122"/>
              </a:rPr>
              <a:t>Elastic</a:t>
            </a:r>
          </a:p>
        </p:txBody>
      </p:sp>
      <p:sp>
        <p:nvSpPr>
          <p:cNvPr id="43" name="文本框 42">
            <a:extLst>
              <a:ext uri="{FF2B5EF4-FFF2-40B4-BE49-F238E27FC236}">
                <a16:creationId xmlns:a16="http://schemas.microsoft.com/office/drawing/2014/main" id="{DCE71F70-0854-4E20-8BD6-CF2849109DCF}"/>
              </a:ext>
            </a:extLst>
          </p:cNvPr>
          <p:cNvSpPr txBox="1"/>
          <p:nvPr/>
        </p:nvSpPr>
        <p:spPr>
          <a:xfrm>
            <a:off x="3538682" y="5950578"/>
            <a:ext cx="2434856" cy="334066"/>
          </a:xfrm>
          <a:prstGeom prst="rect">
            <a:avLst/>
          </a:prstGeom>
          <a:noFill/>
        </p:spPr>
        <p:txBody>
          <a:bodyPr wrap="square" rtlCol="0">
            <a:spAutoFit/>
          </a:bodyPr>
          <a:lstStyle/>
          <a:p>
            <a:pPr algn="ctr">
              <a:lnSpc>
                <a:spcPct val="120000"/>
              </a:lnSpc>
            </a:pPr>
            <a:r>
              <a:rPr lang="zh-CN" altLang="en-US" sz="1400" dirty="0">
                <a:solidFill>
                  <a:srgbClr val="000000"/>
                </a:solidFill>
                <a:latin typeface="AAAAAH+NotoSansCJKsc-Light"/>
              </a:rPr>
              <a:t>有来自全球</a:t>
            </a:r>
            <a:r>
              <a:rPr lang="en-US" altLang="zh-CN" sz="1400" dirty="0">
                <a:solidFill>
                  <a:srgbClr val="000000"/>
                </a:solidFill>
                <a:latin typeface="AAAAAH+NotoSansCJKsc-Light"/>
              </a:rPr>
              <a:t>125</a:t>
            </a:r>
            <a:r>
              <a:rPr lang="zh-CN" altLang="en-US" sz="1400" dirty="0">
                <a:solidFill>
                  <a:srgbClr val="000000"/>
                </a:solidFill>
                <a:latin typeface="AAAAAH+NotoSansCJKsc-Light"/>
              </a:rPr>
              <a:t>个国家的客户</a:t>
            </a:r>
            <a:endParaRPr lang="en-US" altLang="zh-CN" sz="1400" dirty="0">
              <a:solidFill>
                <a:srgbClr val="000000"/>
              </a:solidFill>
              <a:latin typeface="AAAAAH+NotoSansCJKsc-Light"/>
            </a:endParaRPr>
          </a:p>
        </p:txBody>
      </p:sp>
    </p:spTree>
    <p:extLst>
      <p:ext uri="{BB962C8B-B14F-4D97-AF65-F5344CB8AC3E}">
        <p14:creationId xmlns:p14="http://schemas.microsoft.com/office/powerpoint/2010/main" val="374820283"/>
      </p:ext>
    </p:extLst>
  </p:cSld>
  <p:clrMapOvr>
    <a:masterClrMapping/>
  </p:clrMapOvr>
  <p:transition spd="slow">
    <p:randomBa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3">
            <a:extLst>
              <a:ext uri="{FF2B5EF4-FFF2-40B4-BE49-F238E27FC236}">
                <a16:creationId xmlns:a16="http://schemas.microsoft.com/office/drawing/2014/main" id="{0DC4325B-5B28-4AF1-901A-C29B294B3945}"/>
              </a:ext>
            </a:extLst>
          </p:cNvPr>
          <p:cNvSpPr txBox="1"/>
          <p:nvPr/>
        </p:nvSpPr>
        <p:spPr>
          <a:xfrm>
            <a:off x="979997" y="419101"/>
            <a:ext cx="7979276"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000" i="1" dirty="0">
                <a:solidFill>
                  <a:srgbClr val="445185"/>
                </a:solidFill>
                <a:latin typeface="黑体" panose="02010609060101010101" charset="-122"/>
                <a:ea typeface="黑体" panose="02010609060101010101" charset="-122"/>
              </a:rPr>
              <a:t>开源软件商业化的全球探索面临诸多挑战与抉择</a:t>
            </a:r>
          </a:p>
        </p:txBody>
      </p:sp>
      <p:sp>
        <p:nvSpPr>
          <p:cNvPr id="12" name="矩形: 圆角 11">
            <a:extLst>
              <a:ext uri="{FF2B5EF4-FFF2-40B4-BE49-F238E27FC236}">
                <a16:creationId xmlns:a16="http://schemas.microsoft.com/office/drawing/2014/main" id="{E45E1D0B-37B9-4F84-BD88-0B02A6CFCE2C}"/>
              </a:ext>
            </a:extLst>
          </p:cNvPr>
          <p:cNvSpPr/>
          <p:nvPr/>
        </p:nvSpPr>
        <p:spPr>
          <a:xfrm>
            <a:off x="1090833"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i="0" u="none" strike="noStrike" baseline="0" dirty="0">
                <a:solidFill>
                  <a:srgbClr val="181A1B"/>
                </a:solidFill>
                <a:latin typeface="AAAAAB+NotoSansCJKsc-Bold"/>
              </a:rPr>
              <a:t>商业全球化的挑战与困难 </a:t>
            </a:r>
            <a:endParaRPr lang="zh-CN" altLang="en-US" b="1" dirty="0">
              <a:solidFill>
                <a:schemeClr val="tx1"/>
              </a:solidFill>
            </a:endParaRPr>
          </a:p>
        </p:txBody>
      </p:sp>
      <p:grpSp>
        <p:nvGrpSpPr>
          <p:cNvPr id="13" name="组合 12">
            <a:extLst>
              <a:ext uri="{FF2B5EF4-FFF2-40B4-BE49-F238E27FC236}">
                <a16:creationId xmlns:a16="http://schemas.microsoft.com/office/drawing/2014/main" id="{4CAA6FB6-B0A2-422D-BFA5-ED8ED100378B}"/>
              </a:ext>
            </a:extLst>
          </p:cNvPr>
          <p:cNvGrpSpPr/>
          <p:nvPr/>
        </p:nvGrpSpPr>
        <p:grpSpPr>
          <a:xfrm>
            <a:off x="1090832" y="1844456"/>
            <a:ext cx="4745238" cy="4528082"/>
            <a:chOff x="286950" y="3606190"/>
            <a:chExt cx="3060173" cy="2543317"/>
          </a:xfrm>
        </p:grpSpPr>
        <p:grpSp>
          <p:nvGrpSpPr>
            <p:cNvPr id="14" name="组合 13">
              <a:extLst>
                <a:ext uri="{FF2B5EF4-FFF2-40B4-BE49-F238E27FC236}">
                  <a16:creationId xmlns:a16="http://schemas.microsoft.com/office/drawing/2014/main" id="{91F2C39D-8B19-43A9-B9D2-9E5E546BE166}"/>
                </a:ext>
              </a:extLst>
            </p:cNvPr>
            <p:cNvGrpSpPr/>
            <p:nvPr/>
          </p:nvGrpSpPr>
          <p:grpSpPr>
            <a:xfrm>
              <a:off x="286950" y="3606190"/>
              <a:ext cx="1488510" cy="1236288"/>
              <a:chOff x="286950" y="3602027"/>
              <a:chExt cx="3782729" cy="1236289"/>
            </a:xfrm>
          </p:grpSpPr>
          <p:sp>
            <p:nvSpPr>
              <p:cNvPr id="19" name="矩形 18">
                <a:extLst>
                  <a:ext uri="{FF2B5EF4-FFF2-40B4-BE49-F238E27FC236}">
                    <a16:creationId xmlns:a16="http://schemas.microsoft.com/office/drawing/2014/main" id="{54E6BC6A-97C2-4496-8050-B15326E4D303}"/>
                  </a:ext>
                </a:extLst>
              </p:cNvPr>
              <p:cNvSpPr/>
              <p:nvPr/>
            </p:nvSpPr>
            <p:spPr>
              <a:xfrm>
                <a:off x="286950" y="3877963"/>
                <a:ext cx="3782729" cy="960353"/>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矩形: 圆顶角 19">
                <a:extLst>
                  <a:ext uri="{FF2B5EF4-FFF2-40B4-BE49-F238E27FC236}">
                    <a16:creationId xmlns:a16="http://schemas.microsoft.com/office/drawing/2014/main" id="{5D46F20F-2097-4339-A548-821591289E76}"/>
                  </a:ext>
                </a:extLst>
              </p:cNvPr>
              <p:cNvSpPr/>
              <p:nvPr/>
            </p:nvSpPr>
            <p:spPr>
              <a:xfrm>
                <a:off x="286950" y="3602027"/>
                <a:ext cx="3782729" cy="347198"/>
              </a:xfrm>
              <a:prstGeom prst="round2SameRect">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调整产品解决本土化需求</a:t>
                </a:r>
              </a:p>
            </p:txBody>
          </p:sp>
        </p:grpSp>
        <p:sp>
          <p:nvSpPr>
            <p:cNvPr id="18" name="文本框 17">
              <a:extLst>
                <a:ext uri="{FF2B5EF4-FFF2-40B4-BE49-F238E27FC236}">
                  <a16:creationId xmlns:a16="http://schemas.microsoft.com/office/drawing/2014/main" id="{2F590049-75B3-43EF-95C8-3BCB74B7974A}"/>
                </a:ext>
              </a:extLst>
            </p:cNvPr>
            <p:cNvSpPr txBox="1"/>
            <p:nvPr/>
          </p:nvSpPr>
          <p:spPr>
            <a:xfrm>
              <a:off x="340182" y="3990214"/>
              <a:ext cx="1488509" cy="759407"/>
            </a:xfrm>
            <a:prstGeom prst="rect">
              <a:avLst/>
            </a:prstGeom>
            <a:noFill/>
          </p:spPr>
          <p:txBody>
            <a:bodyPr wrap="square" rtlCol="0">
              <a:spAutoFit/>
            </a:bodyPr>
            <a:lstStyle/>
            <a:p>
              <a:pPr indent="360000">
                <a:lnSpc>
                  <a:spcPct val="150000"/>
                </a:lnSpc>
              </a:pPr>
              <a:r>
                <a:rPr lang="zh-CN" altLang="en-US" sz="1400" dirty="0">
                  <a:solidFill>
                    <a:srgbClr val="000000"/>
                  </a:solidFill>
                  <a:latin typeface="AAAAAH+NotoSansCJKsc-Light"/>
                </a:rPr>
                <a:t>不同国家对于软件，尤其是开源软件的</a:t>
              </a:r>
              <a:r>
                <a:rPr lang="zh-CN" altLang="en-US" sz="1400" b="1" dirty="0">
                  <a:solidFill>
                    <a:srgbClr val="000000"/>
                  </a:solidFill>
                  <a:latin typeface="AAAAAH+NotoSansCJKsc-Light"/>
                </a:rPr>
                <a:t>付费意愿</a:t>
              </a:r>
              <a:r>
                <a:rPr lang="zh-CN" altLang="en-US" sz="1400" dirty="0">
                  <a:solidFill>
                    <a:srgbClr val="000000"/>
                  </a:solidFill>
                  <a:latin typeface="AAAAAH+NotoSansCJKsc-Light"/>
                </a:rPr>
                <a:t>有着非常大的差异，需要针对性定价思路</a:t>
              </a:r>
              <a:endParaRPr lang="en-US" altLang="zh-CN" sz="1400" dirty="0">
                <a:solidFill>
                  <a:srgbClr val="000000"/>
                </a:solidFill>
                <a:latin typeface="AAAAAH+NotoSansCJKsc-Light"/>
              </a:endParaRPr>
            </a:p>
          </p:txBody>
        </p:sp>
        <p:sp>
          <p:nvSpPr>
            <p:cNvPr id="31" name="文本框 30">
              <a:extLst>
                <a:ext uri="{FF2B5EF4-FFF2-40B4-BE49-F238E27FC236}">
                  <a16:creationId xmlns:a16="http://schemas.microsoft.com/office/drawing/2014/main" id="{FF5852C8-06BA-49A8-B550-5FA9380863CD}"/>
                </a:ext>
              </a:extLst>
            </p:cNvPr>
            <p:cNvSpPr txBox="1"/>
            <p:nvPr/>
          </p:nvSpPr>
          <p:spPr>
            <a:xfrm>
              <a:off x="1858614" y="3990214"/>
              <a:ext cx="1488509" cy="759408"/>
            </a:xfrm>
            <a:prstGeom prst="rect">
              <a:avLst/>
            </a:prstGeom>
            <a:noFill/>
          </p:spPr>
          <p:txBody>
            <a:bodyPr wrap="square" rtlCol="0">
              <a:spAutoFit/>
            </a:bodyPr>
            <a:lstStyle/>
            <a:p>
              <a:pPr indent="360000">
                <a:lnSpc>
                  <a:spcPct val="150000"/>
                </a:lnSpc>
              </a:pPr>
              <a:r>
                <a:rPr lang="en-US" altLang="zh-CN" sz="1400" dirty="0">
                  <a:solidFill>
                    <a:srgbClr val="000000"/>
                  </a:solidFill>
                  <a:latin typeface="AAAAAH+NotoSansCJKsc-Light"/>
                </a:rPr>
                <a:t>37%</a:t>
              </a:r>
              <a:r>
                <a:rPr lang="zh-CN" altLang="en-US" sz="1400" dirty="0">
                  <a:solidFill>
                    <a:srgbClr val="000000"/>
                  </a:solidFill>
                  <a:latin typeface="AAAAAH+NotoSansCJKsc-Light"/>
                </a:rPr>
                <a:t>的软件公司高管将</a:t>
              </a:r>
              <a:r>
                <a:rPr lang="zh-CN" altLang="en-US" sz="1400" b="1" dirty="0">
                  <a:solidFill>
                    <a:srgbClr val="000000"/>
                  </a:solidFill>
                  <a:latin typeface="AAAAAH+NotoSansCJKsc-Light"/>
                </a:rPr>
                <a:t>销售与市场营销</a:t>
              </a:r>
              <a:r>
                <a:rPr lang="zh-CN" altLang="en-US" sz="1400" dirty="0">
                  <a:solidFill>
                    <a:srgbClr val="000000"/>
                  </a:solidFill>
                  <a:latin typeface="AAAAAH+NotoSansCJKsc-Light"/>
                </a:rPr>
                <a:t>所需要的投⼊列为了阻碍公司全球扩张的最主要的因素</a:t>
              </a:r>
              <a:endParaRPr lang="en-US" altLang="zh-CN" sz="1400" dirty="0">
                <a:solidFill>
                  <a:srgbClr val="000000"/>
                </a:solidFill>
                <a:latin typeface="AAAAAH+NotoSansCJKsc-Light"/>
              </a:endParaRPr>
            </a:p>
          </p:txBody>
        </p:sp>
        <p:sp>
          <p:nvSpPr>
            <p:cNvPr id="33" name="文本框 32">
              <a:extLst>
                <a:ext uri="{FF2B5EF4-FFF2-40B4-BE49-F238E27FC236}">
                  <a16:creationId xmlns:a16="http://schemas.microsoft.com/office/drawing/2014/main" id="{A5BE800E-5186-4692-AB76-663B9D82FBC6}"/>
                </a:ext>
              </a:extLst>
            </p:cNvPr>
            <p:cNvSpPr txBox="1"/>
            <p:nvPr/>
          </p:nvSpPr>
          <p:spPr>
            <a:xfrm>
              <a:off x="314798" y="5209161"/>
              <a:ext cx="1488509" cy="940346"/>
            </a:xfrm>
            <a:prstGeom prst="rect">
              <a:avLst/>
            </a:prstGeom>
            <a:noFill/>
            <a:ln>
              <a:noFill/>
            </a:ln>
          </p:spPr>
          <p:txBody>
            <a:bodyPr wrap="square" rtlCol="0">
              <a:spAutoFit/>
            </a:bodyPr>
            <a:lstStyle/>
            <a:p>
              <a:pPr indent="360000">
                <a:lnSpc>
                  <a:spcPct val="150000"/>
                </a:lnSpc>
              </a:pPr>
              <a:r>
                <a:rPr lang="zh-CN" altLang="en-US" sz="1400" dirty="0">
                  <a:solidFill>
                    <a:srgbClr val="000000"/>
                  </a:solidFill>
                  <a:latin typeface="AAAAAH+NotoSansCJKsc-Light"/>
                </a:rPr>
                <a:t>改变内部的</a:t>
              </a:r>
              <a:r>
                <a:rPr lang="zh-CN" altLang="en-US" sz="1400" b="1" dirty="0">
                  <a:solidFill>
                    <a:srgbClr val="000000"/>
                  </a:solidFill>
                  <a:latin typeface="AAAAAH+NotoSansCJKsc-Light"/>
                </a:rPr>
                <a:t>组织架构</a:t>
              </a:r>
              <a:r>
                <a:rPr lang="zh-CN" altLang="en-US" sz="1400" dirty="0">
                  <a:solidFill>
                    <a:srgbClr val="000000"/>
                  </a:solidFill>
                  <a:latin typeface="AAAAAH+NotoSansCJKsc-Light"/>
                </a:rPr>
                <a:t>来适应多国家多市场的运营模式，建⽴和确保各个国家不同办公室之间</a:t>
              </a:r>
              <a:r>
                <a:rPr lang="zh-CN" altLang="en-US" sz="1400" b="1" dirty="0">
                  <a:solidFill>
                    <a:srgbClr val="000000"/>
                  </a:solidFill>
                  <a:latin typeface="AAAAAH+NotoSansCJKsc-Light"/>
                </a:rPr>
                <a:t>企业⽂化的⼀致与传承。</a:t>
              </a:r>
              <a:endParaRPr lang="en-US" altLang="zh-CN" sz="1400" b="1" dirty="0">
                <a:solidFill>
                  <a:srgbClr val="000000"/>
                </a:solidFill>
                <a:latin typeface="AAAAAH+NotoSansCJKsc-Light"/>
              </a:endParaRPr>
            </a:p>
          </p:txBody>
        </p:sp>
      </p:grpSp>
      <p:grpSp>
        <p:nvGrpSpPr>
          <p:cNvPr id="23" name="组合 22">
            <a:extLst>
              <a:ext uri="{FF2B5EF4-FFF2-40B4-BE49-F238E27FC236}">
                <a16:creationId xmlns:a16="http://schemas.microsoft.com/office/drawing/2014/main" id="{EEBADC7F-434C-4539-AA4D-C4EE3FE8C749}"/>
              </a:ext>
            </a:extLst>
          </p:cNvPr>
          <p:cNvGrpSpPr/>
          <p:nvPr/>
        </p:nvGrpSpPr>
        <p:grpSpPr>
          <a:xfrm>
            <a:off x="3487198" y="1844459"/>
            <a:ext cx="2308149" cy="2201069"/>
            <a:chOff x="286950" y="3602027"/>
            <a:chExt cx="3782729" cy="1236289"/>
          </a:xfrm>
        </p:grpSpPr>
        <p:sp>
          <p:nvSpPr>
            <p:cNvPr id="29" name="矩形 28">
              <a:extLst>
                <a:ext uri="{FF2B5EF4-FFF2-40B4-BE49-F238E27FC236}">
                  <a16:creationId xmlns:a16="http://schemas.microsoft.com/office/drawing/2014/main" id="{7005F025-A3BC-4552-8CC2-993055380B4F}"/>
                </a:ext>
              </a:extLst>
            </p:cNvPr>
            <p:cNvSpPr/>
            <p:nvPr/>
          </p:nvSpPr>
          <p:spPr>
            <a:xfrm>
              <a:off x="286950" y="3877963"/>
              <a:ext cx="3782729" cy="960353"/>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0" name="矩形: 圆顶角 29">
              <a:extLst>
                <a:ext uri="{FF2B5EF4-FFF2-40B4-BE49-F238E27FC236}">
                  <a16:creationId xmlns:a16="http://schemas.microsoft.com/office/drawing/2014/main" id="{8109D3C9-6563-4E97-94D0-C912C3E5E699}"/>
                </a:ext>
              </a:extLst>
            </p:cNvPr>
            <p:cNvSpPr/>
            <p:nvPr/>
          </p:nvSpPr>
          <p:spPr>
            <a:xfrm>
              <a:off x="286950" y="3602027"/>
              <a:ext cx="3782729" cy="347198"/>
            </a:xfrm>
            <a:prstGeom prst="round2SameRect">
              <a:avLst/>
            </a:prstGeom>
            <a:solidFill>
              <a:srgbClr val="8FAA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海外市场运营面对多方难题</a:t>
              </a:r>
            </a:p>
          </p:txBody>
        </p:sp>
      </p:grpSp>
      <p:grpSp>
        <p:nvGrpSpPr>
          <p:cNvPr id="42" name="组合 41">
            <a:extLst>
              <a:ext uri="{FF2B5EF4-FFF2-40B4-BE49-F238E27FC236}">
                <a16:creationId xmlns:a16="http://schemas.microsoft.com/office/drawing/2014/main" id="{1349933C-85AD-4430-9CD8-EE741AA040AA}"/>
              </a:ext>
            </a:extLst>
          </p:cNvPr>
          <p:cNvGrpSpPr/>
          <p:nvPr/>
        </p:nvGrpSpPr>
        <p:grpSpPr>
          <a:xfrm>
            <a:off x="1090832" y="4125841"/>
            <a:ext cx="2308149" cy="2201069"/>
            <a:chOff x="286950" y="3602027"/>
            <a:chExt cx="3782729" cy="1236289"/>
          </a:xfrm>
        </p:grpSpPr>
        <p:sp>
          <p:nvSpPr>
            <p:cNvPr id="44" name="矩形 43">
              <a:extLst>
                <a:ext uri="{FF2B5EF4-FFF2-40B4-BE49-F238E27FC236}">
                  <a16:creationId xmlns:a16="http://schemas.microsoft.com/office/drawing/2014/main" id="{F5E6469F-20E8-4FD7-9164-83F2D8962DA7}"/>
                </a:ext>
              </a:extLst>
            </p:cNvPr>
            <p:cNvSpPr/>
            <p:nvPr/>
          </p:nvSpPr>
          <p:spPr>
            <a:xfrm>
              <a:off x="286950" y="3877963"/>
              <a:ext cx="3782729" cy="960353"/>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5" name="矩形: 圆顶角 44">
              <a:extLst>
                <a:ext uri="{FF2B5EF4-FFF2-40B4-BE49-F238E27FC236}">
                  <a16:creationId xmlns:a16="http://schemas.microsoft.com/office/drawing/2014/main" id="{52953CCC-7AEF-4CA7-AD20-F2660C225864}"/>
                </a:ext>
              </a:extLst>
            </p:cNvPr>
            <p:cNvSpPr/>
            <p:nvPr/>
          </p:nvSpPr>
          <p:spPr>
            <a:xfrm>
              <a:off x="286950" y="3602027"/>
              <a:ext cx="3782729" cy="347198"/>
            </a:xfrm>
            <a:prstGeom prst="round2SameRect">
              <a:avLst/>
            </a:prstGeom>
            <a:solidFill>
              <a:schemeClr val="accent1">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改变组织架构适应全球化运作</a:t>
              </a:r>
            </a:p>
          </p:txBody>
        </p:sp>
      </p:grpSp>
      <p:grpSp>
        <p:nvGrpSpPr>
          <p:cNvPr id="46" name="组合 45">
            <a:extLst>
              <a:ext uri="{FF2B5EF4-FFF2-40B4-BE49-F238E27FC236}">
                <a16:creationId xmlns:a16="http://schemas.microsoft.com/office/drawing/2014/main" id="{C0D82B67-CFDA-436B-BF72-8B81D582A894}"/>
              </a:ext>
            </a:extLst>
          </p:cNvPr>
          <p:cNvGrpSpPr/>
          <p:nvPr/>
        </p:nvGrpSpPr>
        <p:grpSpPr>
          <a:xfrm>
            <a:off x="3487198" y="4125841"/>
            <a:ext cx="2308149" cy="2201069"/>
            <a:chOff x="286950" y="3606192"/>
            <a:chExt cx="1488510" cy="1236289"/>
          </a:xfrm>
        </p:grpSpPr>
        <p:grpSp>
          <p:nvGrpSpPr>
            <p:cNvPr id="47" name="组合 46">
              <a:extLst>
                <a:ext uri="{FF2B5EF4-FFF2-40B4-BE49-F238E27FC236}">
                  <a16:creationId xmlns:a16="http://schemas.microsoft.com/office/drawing/2014/main" id="{9779DD27-E3D6-4D94-A86F-1E1611B3B184}"/>
                </a:ext>
              </a:extLst>
            </p:cNvPr>
            <p:cNvGrpSpPr/>
            <p:nvPr/>
          </p:nvGrpSpPr>
          <p:grpSpPr>
            <a:xfrm>
              <a:off x="286950" y="3606192"/>
              <a:ext cx="1488510" cy="1236289"/>
              <a:chOff x="286950" y="3602027"/>
              <a:chExt cx="3782729" cy="1236289"/>
            </a:xfrm>
          </p:grpSpPr>
          <p:sp>
            <p:nvSpPr>
              <p:cNvPr id="49" name="矩形 48">
                <a:extLst>
                  <a:ext uri="{FF2B5EF4-FFF2-40B4-BE49-F238E27FC236}">
                    <a16:creationId xmlns:a16="http://schemas.microsoft.com/office/drawing/2014/main" id="{5CE52E5E-A483-447C-AB8A-30B57C77721D}"/>
                  </a:ext>
                </a:extLst>
              </p:cNvPr>
              <p:cNvSpPr/>
              <p:nvPr/>
            </p:nvSpPr>
            <p:spPr>
              <a:xfrm>
                <a:off x="286950" y="3877963"/>
                <a:ext cx="3782729" cy="960353"/>
              </a:xfrm>
              <a:prstGeom prst="rect">
                <a:avLst/>
              </a:prstGeom>
              <a:noFill/>
              <a:ln w="12700">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0" name="矩形: 圆顶角 49">
                <a:extLst>
                  <a:ext uri="{FF2B5EF4-FFF2-40B4-BE49-F238E27FC236}">
                    <a16:creationId xmlns:a16="http://schemas.microsoft.com/office/drawing/2014/main" id="{9EC3EF7C-6866-47EE-BEA6-7559FDC18E31}"/>
                  </a:ext>
                </a:extLst>
              </p:cNvPr>
              <p:cNvSpPr/>
              <p:nvPr/>
            </p:nvSpPr>
            <p:spPr>
              <a:xfrm>
                <a:off x="286950" y="3602027"/>
                <a:ext cx="3782729" cy="347198"/>
              </a:xfrm>
              <a:prstGeom prst="round2SameRect">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对运营全球化开源社区的挑战 </a:t>
                </a:r>
              </a:p>
            </p:txBody>
          </p:sp>
        </p:grpSp>
        <p:sp>
          <p:nvSpPr>
            <p:cNvPr id="48" name="文本框 47">
              <a:extLst>
                <a:ext uri="{FF2B5EF4-FFF2-40B4-BE49-F238E27FC236}">
                  <a16:creationId xmlns:a16="http://schemas.microsoft.com/office/drawing/2014/main" id="{6FBB8B2E-695E-44CD-9E11-C043DD423B41}"/>
                </a:ext>
              </a:extLst>
            </p:cNvPr>
            <p:cNvSpPr txBox="1"/>
            <p:nvPr/>
          </p:nvSpPr>
          <p:spPr>
            <a:xfrm>
              <a:off x="314798" y="4031530"/>
              <a:ext cx="1459867" cy="577893"/>
            </a:xfrm>
            <a:prstGeom prst="rect">
              <a:avLst/>
            </a:prstGeom>
            <a:noFill/>
          </p:spPr>
          <p:txBody>
            <a:bodyPr wrap="square" rtlCol="0">
              <a:spAutoFit/>
            </a:bodyPr>
            <a:lstStyle/>
            <a:p>
              <a:pPr>
                <a:lnSpc>
                  <a:spcPct val="150000"/>
                </a:lnSpc>
              </a:pPr>
              <a:r>
                <a:rPr lang="zh-CN" altLang="en-US" sz="1400" b="1" dirty="0">
                  <a:solidFill>
                    <a:srgbClr val="000000"/>
                  </a:solidFill>
                  <a:latin typeface="AAAAAH+NotoSansCJKsc-Light"/>
                </a:rPr>
                <a:t>语言、文化、地理时差</a:t>
              </a:r>
              <a:r>
                <a:rPr lang="zh-CN" altLang="en-US" sz="1400" dirty="0">
                  <a:solidFill>
                    <a:srgbClr val="000000"/>
                  </a:solidFill>
                  <a:latin typeface="AAAAAH+NotoSansCJKsc-Light"/>
                </a:rPr>
                <a:t>的差异是最困扰开源软件公司运营社区的问题。</a:t>
              </a:r>
              <a:endParaRPr lang="en-US" altLang="zh-CN" sz="1400" dirty="0">
                <a:solidFill>
                  <a:srgbClr val="000000"/>
                </a:solidFill>
                <a:latin typeface="AAAAAH+NotoSansCJKsc-Light"/>
              </a:endParaRPr>
            </a:p>
          </p:txBody>
        </p:sp>
      </p:grpSp>
      <p:sp>
        <p:nvSpPr>
          <p:cNvPr id="51" name="矩形: 圆角 50">
            <a:extLst>
              <a:ext uri="{FF2B5EF4-FFF2-40B4-BE49-F238E27FC236}">
                <a16:creationId xmlns:a16="http://schemas.microsoft.com/office/drawing/2014/main" id="{0D1AC0A1-9C27-4157-B4FF-7697D866F87A}"/>
              </a:ext>
            </a:extLst>
          </p:cNvPr>
          <p:cNvSpPr/>
          <p:nvPr/>
        </p:nvSpPr>
        <p:spPr>
          <a:xfrm>
            <a:off x="6308436"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全球化商业化的实现路径</a:t>
            </a:r>
          </a:p>
        </p:txBody>
      </p:sp>
      <p:sp>
        <p:nvSpPr>
          <p:cNvPr id="3" name="灯片编号占位符 2">
            <a:extLst>
              <a:ext uri="{FF2B5EF4-FFF2-40B4-BE49-F238E27FC236}">
                <a16:creationId xmlns:a16="http://schemas.microsoft.com/office/drawing/2014/main" id="{A34B0CB2-DD23-48E3-817F-A8FDA21E8681}"/>
              </a:ext>
            </a:extLst>
          </p:cNvPr>
          <p:cNvSpPr>
            <a:spLocks noGrp="1"/>
          </p:cNvSpPr>
          <p:nvPr>
            <p:ph type="sldNum" sz="quarter" idx="12"/>
          </p:nvPr>
        </p:nvSpPr>
        <p:spPr/>
        <p:txBody>
          <a:bodyPr/>
          <a:lstStyle/>
          <a:p>
            <a:fld id="{65703A48-C316-4AA3-8E4E-4433376E065D}" type="slidenum">
              <a:rPr lang="zh-CN" altLang="en-US" smtClean="0"/>
              <a:t>8</a:t>
            </a:fld>
            <a:endParaRPr lang="zh-CN" altLang="en-US" dirty="0"/>
          </a:p>
        </p:txBody>
      </p:sp>
      <p:sp>
        <p:nvSpPr>
          <p:cNvPr id="34" name="hotel-house_58885">
            <a:extLst>
              <a:ext uri="{FF2B5EF4-FFF2-40B4-BE49-F238E27FC236}">
                <a16:creationId xmlns:a16="http://schemas.microsoft.com/office/drawing/2014/main" id="{1798B6B1-0A7D-4350-9317-3B975A2187CB}"/>
              </a:ext>
            </a:extLst>
          </p:cNvPr>
          <p:cNvSpPr/>
          <p:nvPr/>
        </p:nvSpPr>
        <p:spPr>
          <a:xfrm>
            <a:off x="6296917" y="1863056"/>
            <a:ext cx="609685" cy="600028"/>
          </a:xfrm>
          <a:custGeom>
            <a:avLst/>
            <a:gdLst>
              <a:gd name="connsiteX0" fmla="*/ 121763 h 600884"/>
              <a:gd name="connsiteY0" fmla="*/ 121763 h 600884"/>
              <a:gd name="connsiteX1" fmla="*/ 121763 h 600884"/>
              <a:gd name="connsiteY1" fmla="*/ 121763 h 600884"/>
              <a:gd name="connsiteX2" fmla="*/ 121763 h 600884"/>
              <a:gd name="connsiteY2" fmla="*/ 121763 h 600884"/>
              <a:gd name="connsiteX3" fmla="*/ 121763 h 600884"/>
              <a:gd name="connsiteY3" fmla="*/ 121763 h 600884"/>
              <a:gd name="connsiteX4" fmla="*/ 121763 h 600884"/>
              <a:gd name="connsiteY4" fmla="*/ 121763 h 600884"/>
              <a:gd name="connsiteX5" fmla="*/ 121763 h 600884"/>
              <a:gd name="connsiteY5" fmla="*/ 121763 h 600884"/>
              <a:gd name="connsiteX6" fmla="*/ 121763 h 600884"/>
              <a:gd name="connsiteY6" fmla="*/ 121763 h 600884"/>
              <a:gd name="connsiteX7" fmla="*/ 121763 h 600884"/>
              <a:gd name="connsiteY7" fmla="*/ 121763 h 600884"/>
              <a:gd name="connsiteX8" fmla="*/ 121763 h 600884"/>
              <a:gd name="connsiteY8" fmla="*/ 121763 h 600884"/>
              <a:gd name="connsiteX9" fmla="*/ 121763 h 600884"/>
              <a:gd name="connsiteY9" fmla="*/ 121763 h 600884"/>
              <a:gd name="connsiteX10" fmla="*/ 121763 h 600884"/>
              <a:gd name="connsiteY10" fmla="*/ 121763 h 600884"/>
              <a:gd name="connsiteX11" fmla="*/ 121763 h 600884"/>
              <a:gd name="connsiteY11" fmla="*/ 121763 h 600884"/>
              <a:gd name="connsiteX12" fmla="*/ 121763 h 600884"/>
              <a:gd name="connsiteY12" fmla="*/ 121763 h 600884"/>
              <a:gd name="connsiteX13" fmla="*/ 121763 h 600884"/>
              <a:gd name="connsiteY13" fmla="*/ 121763 h 600884"/>
              <a:gd name="connsiteX14" fmla="*/ 121763 h 600884"/>
              <a:gd name="connsiteY14" fmla="*/ 121763 h 600884"/>
              <a:gd name="connsiteX15" fmla="*/ 121763 h 600884"/>
              <a:gd name="connsiteY15" fmla="*/ 121763 h 600884"/>
              <a:gd name="connsiteX16" fmla="*/ 121763 h 600884"/>
              <a:gd name="connsiteY16" fmla="*/ 121763 h 600884"/>
              <a:gd name="connsiteX17" fmla="*/ 121763 h 600884"/>
              <a:gd name="connsiteY17" fmla="*/ 121763 h 600884"/>
              <a:gd name="connsiteX18" fmla="*/ 121763 h 600884"/>
              <a:gd name="connsiteY18" fmla="*/ 121763 h 600884"/>
              <a:gd name="connsiteX19" fmla="*/ 121763 h 600884"/>
              <a:gd name="connsiteY19" fmla="*/ 121763 h 600884"/>
              <a:gd name="connsiteX20" fmla="*/ 121763 h 600884"/>
              <a:gd name="connsiteY20" fmla="*/ 121763 h 600884"/>
              <a:gd name="connsiteX21" fmla="*/ 121763 h 600884"/>
              <a:gd name="connsiteY21" fmla="*/ 121763 h 600884"/>
              <a:gd name="connsiteX22" fmla="*/ 121763 h 600884"/>
              <a:gd name="connsiteY22" fmla="*/ 121763 h 600884"/>
              <a:gd name="connsiteX23" fmla="*/ 121763 h 600884"/>
              <a:gd name="connsiteY23" fmla="*/ 121763 h 600884"/>
              <a:gd name="connsiteX24" fmla="*/ 121763 h 600884"/>
              <a:gd name="connsiteY24" fmla="*/ 121763 h 600884"/>
              <a:gd name="connsiteX25" fmla="*/ 121763 h 600884"/>
              <a:gd name="connsiteY25" fmla="*/ 121763 h 600884"/>
              <a:gd name="connsiteX26" fmla="*/ 121763 h 600884"/>
              <a:gd name="connsiteY26" fmla="*/ 121763 h 600884"/>
              <a:gd name="connsiteX27" fmla="*/ 121763 h 600884"/>
              <a:gd name="connsiteY27" fmla="*/ 121763 h 600884"/>
              <a:gd name="connsiteX28" fmla="*/ 121763 h 600884"/>
              <a:gd name="connsiteY28" fmla="*/ 121763 h 600884"/>
              <a:gd name="connsiteX29" fmla="*/ 121763 h 600884"/>
              <a:gd name="connsiteY29" fmla="*/ 121763 h 600884"/>
              <a:gd name="connsiteX30" fmla="*/ 121763 h 600884"/>
              <a:gd name="connsiteY30" fmla="*/ 121763 h 600884"/>
              <a:gd name="connsiteX31" fmla="*/ 121763 h 600884"/>
              <a:gd name="connsiteY31" fmla="*/ 121763 h 600884"/>
              <a:gd name="connsiteX32" fmla="*/ 121763 h 600884"/>
              <a:gd name="connsiteY32" fmla="*/ 121763 h 600884"/>
              <a:gd name="connsiteX33" fmla="*/ 121763 h 600884"/>
              <a:gd name="connsiteY33" fmla="*/ 121763 h 600884"/>
              <a:gd name="connsiteX34" fmla="*/ 121763 h 600884"/>
              <a:gd name="connsiteY34" fmla="*/ 121763 h 600884"/>
              <a:gd name="connsiteX35" fmla="*/ 121763 h 600884"/>
              <a:gd name="connsiteY35" fmla="*/ 121763 h 600884"/>
              <a:gd name="connsiteX36" fmla="*/ 121763 h 600884"/>
              <a:gd name="connsiteY36" fmla="*/ 121763 h 600884"/>
              <a:gd name="connsiteX37" fmla="*/ 121763 h 600884"/>
              <a:gd name="connsiteY37" fmla="*/ 121763 h 600884"/>
              <a:gd name="connsiteX38" fmla="*/ 121763 h 600884"/>
              <a:gd name="connsiteY38" fmla="*/ 121763 h 600884"/>
              <a:gd name="connsiteX39" fmla="*/ 121763 h 600884"/>
              <a:gd name="connsiteY39" fmla="*/ 121763 h 600884"/>
              <a:gd name="connsiteX40" fmla="*/ 121763 h 600884"/>
              <a:gd name="connsiteY40" fmla="*/ 121763 h 600884"/>
              <a:gd name="connsiteX41" fmla="*/ 121763 h 600884"/>
              <a:gd name="connsiteY41" fmla="*/ 121763 h 600884"/>
              <a:gd name="connsiteX42" fmla="*/ 121763 h 600884"/>
              <a:gd name="connsiteY42" fmla="*/ 121763 h 600884"/>
              <a:gd name="connsiteX43" fmla="*/ 121763 h 600884"/>
              <a:gd name="connsiteY43" fmla="*/ 121763 h 600884"/>
              <a:gd name="connsiteX44" fmla="*/ 121763 h 600884"/>
              <a:gd name="connsiteY44" fmla="*/ 121763 h 600884"/>
              <a:gd name="connsiteX45" fmla="*/ 121763 h 600884"/>
              <a:gd name="connsiteY45" fmla="*/ 121763 h 600884"/>
              <a:gd name="connsiteX46" fmla="*/ 121763 h 600884"/>
              <a:gd name="connsiteY46" fmla="*/ 121763 h 600884"/>
              <a:gd name="connsiteX47" fmla="*/ 121763 h 600884"/>
              <a:gd name="connsiteY47" fmla="*/ 121763 h 600884"/>
              <a:gd name="connsiteX48" fmla="*/ 121763 h 600884"/>
              <a:gd name="connsiteY48" fmla="*/ 121763 h 600884"/>
              <a:gd name="connsiteX49" fmla="*/ 121763 h 600884"/>
              <a:gd name="connsiteY49" fmla="*/ 121763 h 600884"/>
              <a:gd name="connsiteX50" fmla="*/ 121763 h 600884"/>
              <a:gd name="connsiteY50" fmla="*/ 121763 h 600884"/>
              <a:gd name="connsiteX51" fmla="*/ 121763 h 600884"/>
              <a:gd name="connsiteY51" fmla="*/ 121763 h 600884"/>
              <a:gd name="connsiteX52" fmla="*/ 121763 h 600884"/>
              <a:gd name="connsiteY52" fmla="*/ 121763 h 600884"/>
              <a:gd name="connsiteX53" fmla="*/ 121763 h 600884"/>
              <a:gd name="connsiteY53" fmla="*/ 121763 h 600884"/>
              <a:gd name="connsiteX54" fmla="*/ 121763 h 600884"/>
              <a:gd name="connsiteY54" fmla="*/ 121763 h 600884"/>
              <a:gd name="connsiteX55" fmla="*/ 121763 h 600884"/>
              <a:gd name="connsiteY55" fmla="*/ 121763 h 600884"/>
              <a:gd name="connsiteX56" fmla="*/ 121763 h 600884"/>
              <a:gd name="connsiteY56" fmla="*/ 121763 h 600884"/>
              <a:gd name="connsiteX57" fmla="*/ 121763 h 600884"/>
              <a:gd name="connsiteY57" fmla="*/ 121763 h 600884"/>
              <a:gd name="connsiteX58" fmla="*/ 121763 h 600884"/>
              <a:gd name="connsiteY58" fmla="*/ 121763 h 600884"/>
              <a:gd name="connsiteX59" fmla="*/ 121763 h 600884"/>
              <a:gd name="connsiteY59" fmla="*/ 121763 h 600884"/>
              <a:gd name="connsiteX60" fmla="*/ 121763 h 600884"/>
              <a:gd name="connsiteY60" fmla="*/ 121763 h 600884"/>
              <a:gd name="connsiteX61" fmla="*/ 121763 h 600884"/>
              <a:gd name="connsiteY61" fmla="*/ 121763 h 600884"/>
              <a:gd name="connsiteX62" fmla="*/ 121763 h 600884"/>
              <a:gd name="connsiteY62" fmla="*/ 121763 h 600884"/>
              <a:gd name="connsiteX63" fmla="*/ 121763 h 600884"/>
              <a:gd name="connsiteY63" fmla="*/ 121763 h 600884"/>
              <a:gd name="connsiteX64" fmla="*/ 121763 h 600884"/>
              <a:gd name="connsiteY64" fmla="*/ 121763 h 600884"/>
              <a:gd name="connsiteX65" fmla="*/ 121763 h 600884"/>
              <a:gd name="connsiteY65" fmla="*/ 121763 h 600884"/>
              <a:gd name="connsiteX66" fmla="*/ 121763 h 600884"/>
              <a:gd name="connsiteY66" fmla="*/ 121763 h 600884"/>
              <a:gd name="connsiteX67" fmla="*/ 121763 h 600884"/>
              <a:gd name="connsiteY67" fmla="*/ 121763 h 600884"/>
              <a:gd name="connsiteX68" fmla="*/ 121763 h 600884"/>
              <a:gd name="connsiteY68" fmla="*/ 121763 h 600884"/>
              <a:gd name="connsiteX69" fmla="*/ 121763 h 600884"/>
              <a:gd name="connsiteY69" fmla="*/ 121763 h 600884"/>
              <a:gd name="connsiteX70" fmla="*/ 121763 h 600884"/>
              <a:gd name="connsiteY70" fmla="*/ 121763 h 600884"/>
              <a:gd name="connsiteX71" fmla="*/ 121763 h 600884"/>
              <a:gd name="connsiteY71" fmla="*/ 121763 h 600884"/>
              <a:gd name="connsiteX72" fmla="*/ 121763 h 600884"/>
              <a:gd name="connsiteY72" fmla="*/ 121763 h 600884"/>
              <a:gd name="connsiteX73" fmla="*/ 121763 h 600884"/>
              <a:gd name="connsiteY73" fmla="*/ 121763 h 600884"/>
              <a:gd name="connsiteX74" fmla="*/ 121763 h 600884"/>
              <a:gd name="connsiteY74" fmla="*/ 121763 h 600884"/>
              <a:gd name="connsiteX75" fmla="*/ 121763 h 600884"/>
              <a:gd name="connsiteY75" fmla="*/ 121763 h 600884"/>
              <a:gd name="connsiteX76" fmla="*/ 121763 h 600884"/>
              <a:gd name="connsiteY76" fmla="*/ 121763 h 600884"/>
              <a:gd name="connsiteX77" fmla="*/ 121763 h 600884"/>
              <a:gd name="connsiteY77" fmla="*/ 121763 h 600884"/>
              <a:gd name="connsiteX78" fmla="*/ 121763 h 600884"/>
              <a:gd name="connsiteY78" fmla="*/ 121763 h 600884"/>
              <a:gd name="connsiteX79" fmla="*/ 121763 h 600884"/>
              <a:gd name="connsiteY79" fmla="*/ 121763 h 600884"/>
              <a:gd name="connsiteX80" fmla="*/ 121763 h 600884"/>
              <a:gd name="connsiteY80" fmla="*/ 121763 h 600884"/>
              <a:gd name="connsiteX81" fmla="*/ 121763 h 600884"/>
              <a:gd name="connsiteY81" fmla="*/ 121763 h 60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09566" h="599911">
                <a:moveTo>
                  <a:pt x="287126" y="303269"/>
                </a:moveTo>
                <a:cubicBezTo>
                  <a:pt x="336078" y="309103"/>
                  <a:pt x="370904" y="333897"/>
                  <a:pt x="406948" y="365496"/>
                </a:cubicBezTo>
                <a:cubicBezTo>
                  <a:pt x="443479" y="397825"/>
                  <a:pt x="499006" y="455920"/>
                  <a:pt x="548688" y="447898"/>
                </a:cubicBezTo>
                <a:cubicBezTo>
                  <a:pt x="552585" y="444981"/>
                  <a:pt x="556725" y="442064"/>
                  <a:pt x="561352" y="438661"/>
                </a:cubicBezTo>
                <a:cubicBezTo>
                  <a:pt x="564762" y="436231"/>
                  <a:pt x="569146" y="436231"/>
                  <a:pt x="573286" y="437932"/>
                </a:cubicBezTo>
                <a:cubicBezTo>
                  <a:pt x="579374" y="433557"/>
                  <a:pt x="585220" y="428209"/>
                  <a:pt x="590821" y="420917"/>
                </a:cubicBezTo>
                <a:cubicBezTo>
                  <a:pt x="595205" y="415326"/>
                  <a:pt x="606651" y="418243"/>
                  <a:pt x="607625" y="425292"/>
                </a:cubicBezTo>
                <a:cubicBezTo>
                  <a:pt x="645374" y="682707"/>
                  <a:pt x="121275" y="616834"/>
                  <a:pt x="25807" y="474879"/>
                </a:cubicBezTo>
                <a:cubicBezTo>
                  <a:pt x="23128" y="470747"/>
                  <a:pt x="29704" y="465642"/>
                  <a:pt x="33113" y="469532"/>
                </a:cubicBezTo>
                <a:cubicBezTo>
                  <a:pt x="97164" y="546829"/>
                  <a:pt x="246211" y="567247"/>
                  <a:pt x="339731" y="570164"/>
                </a:cubicBezTo>
                <a:cubicBezTo>
                  <a:pt x="430815" y="572838"/>
                  <a:pt x="568659" y="559469"/>
                  <a:pt x="586194" y="454218"/>
                </a:cubicBezTo>
                <a:cubicBezTo>
                  <a:pt x="584732" y="455433"/>
                  <a:pt x="583271" y="456406"/>
                  <a:pt x="582053" y="457378"/>
                </a:cubicBezTo>
                <a:cubicBezTo>
                  <a:pt x="581566" y="524223"/>
                  <a:pt x="430571" y="509639"/>
                  <a:pt x="395014" y="504777"/>
                </a:cubicBezTo>
                <a:cubicBezTo>
                  <a:pt x="305879" y="492137"/>
                  <a:pt x="208462" y="470504"/>
                  <a:pt x="129312" y="425292"/>
                </a:cubicBezTo>
                <a:cubicBezTo>
                  <a:pt x="118109" y="418729"/>
                  <a:pt x="128094" y="403173"/>
                  <a:pt x="139540" y="408277"/>
                </a:cubicBezTo>
                <a:cubicBezTo>
                  <a:pt x="206270" y="437689"/>
                  <a:pt x="284690" y="452030"/>
                  <a:pt x="356291" y="463941"/>
                </a:cubicBezTo>
                <a:cubicBezTo>
                  <a:pt x="398911" y="470990"/>
                  <a:pt x="443722" y="477553"/>
                  <a:pt x="487073" y="473664"/>
                </a:cubicBezTo>
                <a:cubicBezTo>
                  <a:pt x="499250" y="472692"/>
                  <a:pt x="508504" y="470261"/>
                  <a:pt x="516785" y="467101"/>
                </a:cubicBezTo>
                <a:cubicBezTo>
                  <a:pt x="468564" y="453732"/>
                  <a:pt x="419856" y="404145"/>
                  <a:pt x="383324" y="372788"/>
                </a:cubicBezTo>
                <a:cubicBezTo>
                  <a:pt x="334373" y="330980"/>
                  <a:pt x="281524" y="315180"/>
                  <a:pt x="216743" y="323931"/>
                </a:cubicBezTo>
                <a:cubicBezTo>
                  <a:pt x="142463" y="333654"/>
                  <a:pt x="64530" y="367684"/>
                  <a:pt x="54301" y="450329"/>
                </a:cubicBezTo>
                <a:cubicBezTo>
                  <a:pt x="52840" y="462239"/>
                  <a:pt x="35549" y="462969"/>
                  <a:pt x="35061" y="450329"/>
                </a:cubicBezTo>
                <a:cubicBezTo>
                  <a:pt x="32383" y="327577"/>
                  <a:pt x="191414" y="291845"/>
                  <a:pt x="287126" y="303269"/>
                </a:cubicBezTo>
                <a:close/>
                <a:moveTo>
                  <a:pt x="314145" y="223038"/>
                </a:moveTo>
                <a:cubicBezTo>
                  <a:pt x="313658" y="230571"/>
                  <a:pt x="313171" y="237861"/>
                  <a:pt x="312928" y="245152"/>
                </a:cubicBezTo>
                <a:cubicBezTo>
                  <a:pt x="312928" y="245638"/>
                  <a:pt x="312684" y="246124"/>
                  <a:pt x="312441" y="246610"/>
                </a:cubicBezTo>
                <a:cubicBezTo>
                  <a:pt x="324128" y="246610"/>
                  <a:pt x="335815" y="246853"/>
                  <a:pt x="347259" y="247582"/>
                </a:cubicBezTo>
                <a:cubicBezTo>
                  <a:pt x="347503" y="239319"/>
                  <a:pt x="347990" y="231300"/>
                  <a:pt x="348477" y="223038"/>
                </a:cubicBezTo>
                <a:cubicBezTo>
                  <a:pt x="337520" y="225468"/>
                  <a:pt x="325589" y="224496"/>
                  <a:pt x="314145" y="223038"/>
                </a:cubicBezTo>
                <a:close/>
                <a:moveTo>
                  <a:pt x="87575" y="222323"/>
                </a:moveTo>
                <a:cubicBezTo>
                  <a:pt x="92624" y="222961"/>
                  <a:pt x="97369" y="225819"/>
                  <a:pt x="100775" y="230805"/>
                </a:cubicBezTo>
                <a:cubicBezTo>
                  <a:pt x="107101" y="239804"/>
                  <a:pt x="103938" y="259504"/>
                  <a:pt x="103451" y="270205"/>
                </a:cubicBezTo>
                <a:cubicBezTo>
                  <a:pt x="102721" y="283582"/>
                  <a:pt x="102721" y="297688"/>
                  <a:pt x="95665" y="309605"/>
                </a:cubicBezTo>
                <a:cubicBezTo>
                  <a:pt x="89825" y="319577"/>
                  <a:pt x="72793" y="318361"/>
                  <a:pt x="70360" y="306444"/>
                </a:cubicBezTo>
                <a:cubicBezTo>
                  <a:pt x="67684" y="293553"/>
                  <a:pt x="66224" y="280420"/>
                  <a:pt x="65980" y="267287"/>
                </a:cubicBezTo>
                <a:cubicBezTo>
                  <a:pt x="65737" y="255369"/>
                  <a:pt x="62574" y="235912"/>
                  <a:pt x="72550" y="227157"/>
                </a:cubicBezTo>
                <a:cubicBezTo>
                  <a:pt x="77173" y="223266"/>
                  <a:pt x="82526" y="221685"/>
                  <a:pt x="87575" y="222323"/>
                </a:cubicBezTo>
                <a:close/>
                <a:moveTo>
                  <a:pt x="255708" y="213317"/>
                </a:moveTo>
                <a:cubicBezTo>
                  <a:pt x="255951" y="223281"/>
                  <a:pt x="256438" y="233244"/>
                  <a:pt x="256925" y="243208"/>
                </a:cubicBezTo>
                <a:cubicBezTo>
                  <a:pt x="271291" y="245152"/>
                  <a:pt x="285657" y="245881"/>
                  <a:pt x="300023" y="246124"/>
                </a:cubicBezTo>
                <a:cubicBezTo>
                  <a:pt x="300023" y="245881"/>
                  <a:pt x="300023" y="245638"/>
                  <a:pt x="299779" y="245152"/>
                </a:cubicBezTo>
                <a:cubicBezTo>
                  <a:pt x="299536" y="237618"/>
                  <a:pt x="298805" y="229599"/>
                  <a:pt x="298562" y="221336"/>
                </a:cubicBezTo>
                <a:cubicBezTo>
                  <a:pt x="284196" y="219878"/>
                  <a:pt x="270074" y="217448"/>
                  <a:pt x="256195" y="213803"/>
                </a:cubicBezTo>
                <a:cubicBezTo>
                  <a:pt x="255951" y="213560"/>
                  <a:pt x="255951" y="213560"/>
                  <a:pt x="255708" y="213317"/>
                </a:cubicBezTo>
                <a:close/>
                <a:moveTo>
                  <a:pt x="350912" y="175893"/>
                </a:moveTo>
                <a:cubicBezTo>
                  <a:pt x="322667" y="179781"/>
                  <a:pt x="293936" y="179295"/>
                  <a:pt x="265204" y="181239"/>
                </a:cubicBezTo>
                <a:cubicBezTo>
                  <a:pt x="260334" y="181726"/>
                  <a:pt x="257412" y="179295"/>
                  <a:pt x="255951" y="176136"/>
                </a:cubicBezTo>
                <a:cubicBezTo>
                  <a:pt x="255464" y="184885"/>
                  <a:pt x="255464" y="193633"/>
                  <a:pt x="255464" y="202382"/>
                </a:cubicBezTo>
                <a:cubicBezTo>
                  <a:pt x="256682" y="201896"/>
                  <a:pt x="257899" y="201652"/>
                  <a:pt x="259360" y="201896"/>
                </a:cubicBezTo>
                <a:cubicBezTo>
                  <a:pt x="272509" y="204569"/>
                  <a:pt x="285657" y="205784"/>
                  <a:pt x="298805" y="206513"/>
                </a:cubicBezTo>
                <a:cubicBezTo>
                  <a:pt x="299292" y="198979"/>
                  <a:pt x="300510" y="191689"/>
                  <a:pt x="303432" y="185128"/>
                </a:cubicBezTo>
                <a:cubicBezTo>
                  <a:pt x="306597" y="177594"/>
                  <a:pt x="317554" y="182212"/>
                  <a:pt x="317797" y="189259"/>
                </a:cubicBezTo>
                <a:cubicBezTo>
                  <a:pt x="318041" y="194848"/>
                  <a:pt x="317310" y="200680"/>
                  <a:pt x="316093" y="206513"/>
                </a:cubicBezTo>
                <a:cubicBezTo>
                  <a:pt x="327293" y="206270"/>
                  <a:pt x="338737" y="205298"/>
                  <a:pt x="349207" y="207728"/>
                </a:cubicBezTo>
                <a:cubicBezTo>
                  <a:pt x="349938" y="197035"/>
                  <a:pt x="350668" y="186586"/>
                  <a:pt x="350912" y="175893"/>
                </a:cubicBezTo>
                <a:close/>
                <a:moveTo>
                  <a:pt x="359434" y="152564"/>
                </a:moveTo>
                <a:cubicBezTo>
                  <a:pt x="366495" y="151349"/>
                  <a:pt x="373313" y="155723"/>
                  <a:pt x="373313" y="163014"/>
                </a:cubicBezTo>
                <a:cubicBezTo>
                  <a:pt x="373556" y="195334"/>
                  <a:pt x="370634" y="227655"/>
                  <a:pt x="370391" y="259975"/>
                </a:cubicBezTo>
                <a:cubicBezTo>
                  <a:pt x="370391" y="266051"/>
                  <a:pt x="365034" y="272369"/>
                  <a:pt x="358703" y="271640"/>
                </a:cubicBezTo>
                <a:cubicBezTo>
                  <a:pt x="320232" y="268481"/>
                  <a:pt x="281761" y="270182"/>
                  <a:pt x="243777" y="262892"/>
                </a:cubicBezTo>
                <a:cubicBezTo>
                  <a:pt x="239394" y="261919"/>
                  <a:pt x="235742" y="257059"/>
                  <a:pt x="235985" y="252685"/>
                </a:cubicBezTo>
                <a:cubicBezTo>
                  <a:pt x="237203" y="225711"/>
                  <a:pt x="239638" y="199222"/>
                  <a:pt x="244995" y="172734"/>
                </a:cubicBezTo>
                <a:cubicBezTo>
                  <a:pt x="245968" y="167874"/>
                  <a:pt x="252543" y="167874"/>
                  <a:pt x="254978" y="171033"/>
                </a:cubicBezTo>
                <a:cubicBezTo>
                  <a:pt x="255221" y="165930"/>
                  <a:pt x="258630" y="160583"/>
                  <a:pt x="265204" y="159611"/>
                </a:cubicBezTo>
                <a:cubicBezTo>
                  <a:pt x="296614" y="155966"/>
                  <a:pt x="328267" y="158882"/>
                  <a:pt x="359434" y="152564"/>
                </a:cubicBezTo>
                <a:close/>
                <a:moveTo>
                  <a:pt x="345261" y="864"/>
                </a:moveTo>
                <a:cubicBezTo>
                  <a:pt x="350648" y="2414"/>
                  <a:pt x="355519" y="5939"/>
                  <a:pt x="358197" y="10558"/>
                </a:cubicBezTo>
                <a:cubicBezTo>
                  <a:pt x="392533" y="68657"/>
                  <a:pt x="460474" y="103177"/>
                  <a:pt x="513316" y="142559"/>
                </a:cubicBezTo>
                <a:cubicBezTo>
                  <a:pt x="540346" y="162736"/>
                  <a:pt x="588075" y="195310"/>
                  <a:pt x="585640" y="233963"/>
                </a:cubicBezTo>
                <a:cubicBezTo>
                  <a:pt x="584909" y="248548"/>
                  <a:pt x="566646" y="258272"/>
                  <a:pt x="555444" y="246361"/>
                </a:cubicBezTo>
                <a:cubicBezTo>
                  <a:pt x="549356" y="240040"/>
                  <a:pt x="543755" y="232990"/>
                  <a:pt x="538642" y="226184"/>
                </a:cubicBezTo>
                <a:cubicBezTo>
                  <a:pt x="537668" y="281853"/>
                  <a:pt x="538398" y="338980"/>
                  <a:pt x="531336" y="394406"/>
                </a:cubicBezTo>
                <a:cubicBezTo>
                  <a:pt x="529388" y="409478"/>
                  <a:pt x="509420" y="409478"/>
                  <a:pt x="507472" y="394406"/>
                </a:cubicBezTo>
                <a:cubicBezTo>
                  <a:pt x="500410" y="338008"/>
                  <a:pt x="501140" y="279422"/>
                  <a:pt x="500166" y="222780"/>
                </a:cubicBezTo>
                <a:cubicBezTo>
                  <a:pt x="499923" y="209653"/>
                  <a:pt x="510637" y="203576"/>
                  <a:pt x="520865" y="204305"/>
                </a:cubicBezTo>
                <a:cubicBezTo>
                  <a:pt x="516969" y="200172"/>
                  <a:pt x="512829" y="196040"/>
                  <a:pt x="508202" y="192150"/>
                </a:cubicBezTo>
                <a:cubicBezTo>
                  <a:pt x="484338" y="172703"/>
                  <a:pt x="459012" y="155443"/>
                  <a:pt x="433930" y="137454"/>
                </a:cubicBezTo>
                <a:cubicBezTo>
                  <a:pt x="398134" y="111929"/>
                  <a:pt x="361120" y="85674"/>
                  <a:pt x="334577" y="50668"/>
                </a:cubicBezTo>
                <a:cubicBezTo>
                  <a:pt x="229865" y="121896"/>
                  <a:pt x="117362" y="178051"/>
                  <a:pt x="25070" y="266538"/>
                </a:cubicBezTo>
                <a:cubicBezTo>
                  <a:pt x="13625" y="277477"/>
                  <a:pt x="-7074" y="262891"/>
                  <a:pt x="2423" y="249035"/>
                </a:cubicBezTo>
                <a:cubicBezTo>
                  <a:pt x="79861" y="135752"/>
                  <a:pt x="219881" y="79111"/>
                  <a:pt x="329219" y="3022"/>
                </a:cubicBezTo>
                <a:cubicBezTo>
                  <a:pt x="333967" y="-260"/>
                  <a:pt x="339873" y="-685"/>
                  <a:pt x="345261" y="8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dollar-sign_16302">
            <a:extLst>
              <a:ext uri="{FF2B5EF4-FFF2-40B4-BE49-F238E27FC236}">
                <a16:creationId xmlns:a16="http://schemas.microsoft.com/office/drawing/2014/main" id="{DEC55187-9518-4945-9F34-908CE1B4D263}"/>
              </a:ext>
            </a:extLst>
          </p:cNvPr>
          <p:cNvSpPr/>
          <p:nvPr/>
        </p:nvSpPr>
        <p:spPr>
          <a:xfrm>
            <a:off x="6396655" y="5090656"/>
            <a:ext cx="416041" cy="609685"/>
          </a:xfrm>
          <a:custGeom>
            <a:avLst/>
            <a:gdLst>
              <a:gd name="connsiteX0" fmla="*/ 207204 w 414501"/>
              <a:gd name="connsiteY0" fmla="*/ 101896 h 607427"/>
              <a:gd name="connsiteX1" fmla="*/ 295396 w 414501"/>
              <a:gd name="connsiteY1" fmla="*/ 154081 h 607427"/>
              <a:gd name="connsiteX2" fmla="*/ 290290 w 414501"/>
              <a:gd name="connsiteY2" fmla="*/ 172248 h 607427"/>
              <a:gd name="connsiteX3" fmla="*/ 290290 w 414501"/>
              <a:gd name="connsiteY3" fmla="*/ 252239 h 607427"/>
              <a:gd name="connsiteX4" fmla="*/ 298274 w 414501"/>
              <a:gd name="connsiteY4" fmla="*/ 274392 h 607427"/>
              <a:gd name="connsiteX5" fmla="*/ 264947 w 414501"/>
              <a:gd name="connsiteY5" fmla="*/ 327503 h 607427"/>
              <a:gd name="connsiteX6" fmla="*/ 273951 w 414501"/>
              <a:gd name="connsiteY6" fmla="*/ 335660 h 607427"/>
              <a:gd name="connsiteX7" fmla="*/ 349611 w 414501"/>
              <a:gd name="connsiteY7" fmla="*/ 368658 h 607427"/>
              <a:gd name="connsiteX8" fmla="*/ 377925 w 414501"/>
              <a:gd name="connsiteY8" fmla="*/ 387845 h 607427"/>
              <a:gd name="connsiteX9" fmla="*/ 414501 w 414501"/>
              <a:gd name="connsiteY9" fmla="*/ 546623 h 607427"/>
              <a:gd name="connsiteX10" fmla="*/ 408374 w 414501"/>
              <a:gd name="connsiteY10" fmla="*/ 566736 h 607427"/>
              <a:gd name="connsiteX11" fmla="*/ 207204 w 414501"/>
              <a:gd name="connsiteY11" fmla="*/ 607427 h 607427"/>
              <a:gd name="connsiteX12" fmla="*/ 6127 w 414501"/>
              <a:gd name="connsiteY12" fmla="*/ 566736 h 607427"/>
              <a:gd name="connsiteX13" fmla="*/ 0 w 414501"/>
              <a:gd name="connsiteY13" fmla="*/ 546623 h 607427"/>
              <a:gd name="connsiteX14" fmla="*/ 36576 w 414501"/>
              <a:gd name="connsiteY14" fmla="*/ 387845 h 607427"/>
              <a:gd name="connsiteX15" fmla="*/ 64891 w 414501"/>
              <a:gd name="connsiteY15" fmla="*/ 368658 h 607427"/>
              <a:gd name="connsiteX16" fmla="*/ 140457 w 414501"/>
              <a:gd name="connsiteY16" fmla="*/ 335660 h 607427"/>
              <a:gd name="connsiteX17" fmla="*/ 149462 w 414501"/>
              <a:gd name="connsiteY17" fmla="*/ 327503 h 607427"/>
              <a:gd name="connsiteX18" fmla="*/ 115949 w 414501"/>
              <a:gd name="connsiteY18" fmla="*/ 273743 h 607427"/>
              <a:gd name="connsiteX19" fmla="*/ 123469 w 414501"/>
              <a:gd name="connsiteY19" fmla="*/ 252239 h 607427"/>
              <a:gd name="connsiteX20" fmla="*/ 123469 w 414501"/>
              <a:gd name="connsiteY20" fmla="*/ 172248 h 607427"/>
              <a:gd name="connsiteX21" fmla="*/ 118734 w 414501"/>
              <a:gd name="connsiteY21" fmla="*/ 154822 h 607427"/>
              <a:gd name="connsiteX22" fmla="*/ 207204 w 414501"/>
              <a:gd name="connsiteY22" fmla="*/ 101896 h 607427"/>
              <a:gd name="connsiteX23" fmla="*/ 207921 w 414501"/>
              <a:gd name="connsiteY23" fmla="*/ 0 h 607427"/>
              <a:gd name="connsiteX24" fmla="*/ 212749 w 414501"/>
              <a:gd name="connsiteY24" fmla="*/ 93 h 607427"/>
              <a:gd name="connsiteX25" fmla="*/ 215163 w 414501"/>
              <a:gd name="connsiteY25" fmla="*/ 186 h 607427"/>
              <a:gd name="connsiteX26" fmla="*/ 216556 w 414501"/>
              <a:gd name="connsiteY26" fmla="*/ 186 h 607427"/>
              <a:gd name="connsiteX27" fmla="*/ 217948 w 414501"/>
              <a:gd name="connsiteY27" fmla="*/ 278 h 607427"/>
              <a:gd name="connsiteX28" fmla="*/ 223519 w 414501"/>
              <a:gd name="connsiteY28" fmla="*/ 649 h 607427"/>
              <a:gd name="connsiteX29" fmla="*/ 228811 w 414501"/>
              <a:gd name="connsiteY29" fmla="*/ 1205 h 607427"/>
              <a:gd name="connsiteX30" fmla="*/ 249794 w 414501"/>
              <a:gd name="connsiteY30" fmla="*/ 4727 h 607427"/>
              <a:gd name="connsiteX31" fmla="*/ 288695 w 414501"/>
              <a:gd name="connsiteY31" fmla="*/ 18631 h 607427"/>
              <a:gd name="connsiteX32" fmla="*/ 305779 w 414501"/>
              <a:gd name="connsiteY32" fmla="*/ 28549 h 607427"/>
              <a:gd name="connsiteX33" fmla="*/ 313578 w 414501"/>
              <a:gd name="connsiteY33" fmla="*/ 34111 h 607427"/>
              <a:gd name="connsiteX34" fmla="*/ 317291 w 414501"/>
              <a:gd name="connsiteY34" fmla="*/ 37077 h 607427"/>
              <a:gd name="connsiteX35" fmla="*/ 320912 w 414501"/>
              <a:gd name="connsiteY35" fmla="*/ 40136 h 607427"/>
              <a:gd name="connsiteX36" fmla="*/ 324255 w 414501"/>
              <a:gd name="connsiteY36" fmla="*/ 43194 h 607427"/>
              <a:gd name="connsiteX37" fmla="*/ 327504 w 414501"/>
              <a:gd name="connsiteY37" fmla="*/ 46346 h 607427"/>
              <a:gd name="connsiteX38" fmla="*/ 330568 w 414501"/>
              <a:gd name="connsiteY38" fmla="*/ 49590 h 607427"/>
              <a:gd name="connsiteX39" fmla="*/ 332146 w 414501"/>
              <a:gd name="connsiteY39" fmla="*/ 51258 h 607427"/>
              <a:gd name="connsiteX40" fmla="*/ 333539 w 414501"/>
              <a:gd name="connsiteY40" fmla="*/ 52927 h 607427"/>
              <a:gd name="connsiteX41" fmla="*/ 336324 w 414501"/>
              <a:gd name="connsiteY41" fmla="*/ 56171 h 607427"/>
              <a:gd name="connsiteX42" fmla="*/ 338924 w 414501"/>
              <a:gd name="connsiteY42" fmla="*/ 59601 h 607427"/>
              <a:gd name="connsiteX43" fmla="*/ 343566 w 414501"/>
              <a:gd name="connsiteY43" fmla="*/ 66367 h 607427"/>
              <a:gd name="connsiteX44" fmla="*/ 355636 w 414501"/>
              <a:gd name="connsiteY44" fmla="*/ 92877 h 607427"/>
              <a:gd name="connsiteX45" fmla="*/ 357771 w 414501"/>
              <a:gd name="connsiteY45" fmla="*/ 102331 h 607427"/>
              <a:gd name="connsiteX46" fmla="*/ 367241 w 414501"/>
              <a:gd name="connsiteY46" fmla="*/ 212634 h 607427"/>
              <a:gd name="connsiteX47" fmla="*/ 362785 w 414501"/>
              <a:gd name="connsiteY47" fmla="*/ 212171 h 607427"/>
              <a:gd name="connsiteX48" fmla="*/ 362785 w 414501"/>
              <a:gd name="connsiteY48" fmla="*/ 251287 h 607427"/>
              <a:gd name="connsiteX49" fmla="*/ 353686 w 414501"/>
              <a:gd name="connsiteY49" fmla="*/ 251287 h 607427"/>
              <a:gd name="connsiteX50" fmla="*/ 353686 w 414501"/>
              <a:gd name="connsiteY50" fmla="*/ 252584 h 607427"/>
              <a:gd name="connsiteX51" fmla="*/ 325090 w 414501"/>
              <a:gd name="connsiteY51" fmla="*/ 281133 h 607427"/>
              <a:gd name="connsiteX52" fmla="*/ 296587 w 414501"/>
              <a:gd name="connsiteY52" fmla="*/ 252584 h 607427"/>
              <a:gd name="connsiteX53" fmla="*/ 296587 w 414501"/>
              <a:gd name="connsiteY53" fmla="*/ 172684 h 607427"/>
              <a:gd name="connsiteX54" fmla="*/ 325090 w 414501"/>
              <a:gd name="connsiteY54" fmla="*/ 144135 h 607427"/>
              <a:gd name="connsiteX55" fmla="*/ 353686 w 414501"/>
              <a:gd name="connsiteY55" fmla="*/ 172684 h 607427"/>
              <a:gd name="connsiteX56" fmla="*/ 353686 w 414501"/>
              <a:gd name="connsiteY56" fmla="*/ 173982 h 607427"/>
              <a:gd name="connsiteX57" fmla="*/ 359628 w 414501"/>
              <a:gd name="connsiteY57" fmla="*/ 173982 h 607427"/>
              <a:gd name="connsiteX58" fmla="*/ 355636 w 414501"/>
              <a:gd name="connsiteY58" fmla="*/ 129027 h 607427"/>
              <a:gd name="connsiteX59" fmla="*/ 355450 w 414501"/>
              <a:gd name="connsiteY59" fmla="*/ 128470 h 607427"/>
              <a:gd name="connsiteX60" fmla="*/ 355172 w 414501"/>
              <a:gd name="connsiteY60" fmla="*/ 127265 h 607427"/>
              <a:gd name="connsiteX61" fmla="*/ 354707 w 414501"/>
              <a:gd name="connsiteY61" fmla="*/ 125968 h 607427"/>
              <a:gd name="connsiteX62" fmla="*/ 353686 w 414501"/>
              <a:gd name="connsiteY62" fmla="*/ 123094 h 607427"/>
              <a:gd name="connsiteX63" fmla="*/ 352479 w 414501"/>
              <a:gd name="connsiteY63" fmla="*/ 119850 h 607427"/>
              <a:gd name="connsiteX64" fmla="*/ 350994 w 414501"/>
              <a:gd name="connsiteY64" fmla="*/ 116235 h 607427"/>
              <a:gd name="connsiteX65" fmla="*/ 341524 w 414501"/>
              <a:gd name="connsiteY65" fmla="*/ 99273 h 607427"/>
              <a:gd name="connsiteX66" fmla="*/ 325554 w 414501"/>
              <a:gd name="connsiteY66" fmla="*/ 81105 h 607427"/>
              <a:gd name="connsiteX67" fmla="*/ 320448 w 414501"/>
              <a:gd name="connsiteY67" fmla="*/ 76656 h 607427"/>
              <a:gd name="connsiteX68" fmla="*/ 317756 w 414501"/>
              <a:gd name="connsiteY68" fmla="*/ 74524 h 607427"/>
              <a:gd name="connsiteX69" fmla="*/ 314970 w 414501"/>
              <a:gd name="connsiteY69" fmla="*/ 72392 h 607427"/>
              <a:gd name="connsiteX70" fmla="*/ 313578 w 414501"/>
              <a:gd name="connsiteY70" fmla="*/ 71373 h 607427"/>
              <a:gd name="connsiteX71" fmla="*/ 312092 w 414501"/>
              <a:gd name="connsiteY71" fmla="*/ 70353 h 607427"/>
              <a:gd name="connsiteX72" fmla="*/ 309121 w 414501"/>
              <a:gd name="connsiteY72" fmla="*/ 68314 h 607427"/>
              <a:gd name="connsiteX73" fmla="*/ 305964 w 414501"/>
              <a:gd name="connsiteY73" fmla="*/ 66367 h 607427"/>
              <a:gd name="connsiteX74" fmla="*/ 302808 w 414501"/>
              <a:gd name="connsiteY74" fmla="*/ 64421 h 607427"/>
              <a:gd name="connsiteX75" fmla="*/ 289252 w 414501"/>
              <a:gd name="connsiteY75" fmla="*/ 57283 h 607427"/>
              <a:gd name="connsiteX76" fmla="*/ 285632 w 414501"/>
              <a:gd name="connsiteY76" fmla="*/ 55708 h 607427"/>
              <a:gd name="connsiteX77" fmla="*/ 282011 w 414501"/>
              <a:gd name="connsiteY77" fmla="*/ 54132 h 607427"/>
              <a:gd name="connsiteX78" fmla="*/ 278204 w 414501"/>
              <a:gd name="connsiteY78" fmla="*/ 52742 h 607427"/>
              <a:gd name="connsiteX79" fmla="*/ 274397 w 414501"/>
              <a:gd name="connsiteY79" fmla="*/ 51351 h 607427"/>
              <a:gd name="connsiteX80" fmla="*/ 242088 w 414501"/>
              <a:gd name="connsiteY80" fmla="*/ 43009 h 607427"/>
              <a:gd name="connsiteX81" fmla="*/ 237817 w 414501"/>
              <a:gd name="connsiteY81" fmla="*/ 42360 h 607427"/>
              <a:gd name="connsiteX82" fmla="*/ 233546 w 414501"/>
              <a:gd name="connsiteY82" fmla="*/ 41804 h 607427"/>
              <a:gd name="connsiteX83" fmla="*/ 224912 w 414501"/>
              <a:gd name="connsiteY83" fmla="*/ 40877 h 607427"/>
              <a:gd name="connsiteX84" fmla="*/ 220641 w 414501"/>
              <a:gd name="connsiteY84" fmla="*/ 40599 h 607427"/>
              <a:gd name="connsiteX85" fmla="*/ 216556 w 414501"/>
              <a:gd name="connsiteY85" fmla="*/ 40321 h 607427"/>
              <a:gd name="connsiteX86" fmla="*/ 215534 w 414501"/>
              <a:gd name="connsiteY86" fmla="*/ 40321 h 607427"/>
              <a:gd name="connsiteX87" fmla="*/ 214420 w 414501"/>
              <a:gd name="connsiteY87" fmla="*/ 40228 h 607427"/>
              <a:gd name="connsiteX88" fmla="*/ 212006 w 414501"/>
              <a:gd name="connsiteY88" fmla="*/ 40228 h 607427"/>
              <a:gd name="connsiteX89" fmla="*/ 207457 w 414501"/>
              <a:gd name="connsiteY89" fmla="*/ 40136 h 607427"/>
              <a:gd name="connsiteX90" fmla="*/ 207364 w 414501"/>
              <a:gd name="connsiteY90" fmla="*/ 40136 h 607427"/>
              <a:gd name="connsiteX91" fmla="*/ 207271 w 414501"/>
              <a:gd name="connsiteY91" fmla="*/ 40136 h 607427"/>
              <a:gd name="connsiteX92" fmla="*/ 206993 w 414501"/>
              <a:gd name="connsiteY92" fmla="*/ 40136 h 607427"/>
              <a:gd name="connsiteX93" fmla="*/ 206436 w 414501"/>
              <a:gd name="connsiteY93" fmla="*/ 40136 h 607427"/>
              <a:gd name="connsiteX94" fmla="*/ 205322 w 414501"/>
              <a:gd name="connsiteY94" fmla="*/ 40228 h 607427"/>
              <a:gd name="connsiteX95" fmla="*/ 203186 w 414501"/>
              <a:gd name="connsiteY95" fmla="*/ 40228 h 607427"/>
              <a:gd name="connsiteX96" fmla="*/ 198822 w 414501"/>
              <a:gd name="connsiteY96" fmla="*/ 40321 h 607427"/>
              <a:gd name="connsiteX97" fmla="*/ 194459 w 414501"/>
              <a:gd name="connsiteY97" fmla="*/ 40506 h 607427"/>
              <a:gd name="connsiteX98" fmla="*/ 190095 w 414501"/>
              <a:gd name="connsiteY98" fmla="*/ 40877 h 607427"/>
              <a:gd name="connsiteX99" fmla="*/ 181553 w 414501"/>
              <a:gd name="connsiteY99" fmla="*/ 41711 h 607427"/>
              <a:gd name="connsiteX100" fmla="*/ 177283 w 414501"/>
              <a:gd name="connsiteY100" fmla="*/ 42360 h 607427"/>
              <a:gd name="connsiteX101" fmla="*/ 173012 w 414501"/>
              <a:gd name="connsiteY101" fmla="*/ 43009 h 607427"/>
              <a:gd name="connsiteX102" fmla="*/ 140609 w 414501"/>
              <a:gd name="connsiteY102" fmla="*/ 51258 h 607427"/>
              <a:gd name="connsiteX103" fmla="*/ 125847 w 414501"/>
              <a:gd name="connsiteY103" fmla="*/ 57283 h 607427"/>
              <a:gd name="connsiteX104" fmla="*/ 112199 w 414501"/>
              <a:gd name="connsiteY104" fmla="*/ 64421 h 607427"/>
              <a:gd name="connsiteX105" fmla="*/ 109042 w 414501"/>
              <a:gd name="connsiteY105" fmla="*/ 66274 h 607427"/>
              <a:gd name="connsiteX106" fmla="*/ 105978 w 414501"/>
              <a:gd name="connsiteY106" fmla="*/ 68221 h 607427"/>
              <a:gd name="connsiteX107" fmla="*/ 103007 w 414501"/>
              <a:gd name="connsiteY107" fmla="*/ 70260 h 607427"/>
              <a:gd name="connsiteX108" fmla="*/ 101522 w 414501"/>
              <a:gd name="connsiteY108" fmla="*/ 71280 h 607427"/>
              <a:gd name="connsiteX109" fmla="*/ 100129 w 414501"/>
              <a:gd name="connsiteY109" fmla="*/ 72392 h 607427"/>
              <a:gd name="connsiteX110" fmla="*/ 97251 w 414501"/>
              <a:gd name="connsiteY110" fmla="*/ 74431 h 607427"/>
              <a:gd name="connsiteX111" fmla="*/ 94652 w 414501"/>
              <a:gd name="connsiteY111" fmla="*/ 76656 h 607427"/>
              <a:gd name="connsiteX112" fmla="*/ 89545 w 414501"/>
              <a:gd name="connsiteY112" fmla="*/ 81012 h 607427"/>
              <a:gd name="connsiteX113" fmla="*/ 73576 w 414501"/>
              <a:gd name="connsiteY113" fmla="*/ 99273 h 607427"/>
              <a:gd name="connsiteX114" fmla="*/ 64013 w 414501"/>
              <a:gd name="connsiteY114" fmla="*/ 116142 h 607427"/>
              <a:gd name="connsiteX115" fmla="*/ 62620 w 414501"/>
              <a:gd name="connsiteY115" fmla="*/ 119850 h 607427"/>
              <a:gd name="connsiteX116" fmla="*/ 61321 w 414501"/>
              <a:gd name="connsiteY116" fmla="*/ 123094 h 607427"/>
              <a:gd name="connsiteX117" fmla="*/ 60392 w 414501"/>
              <a:gd name="connsiteY117" fmla="*/ 125968 h 607427"/>
              <a:gd name="connsiteX118" fmla="*/ 59928 w 414501"/>
              <a:gd name="connsiteY118" fmla="*/ 127265 h 607427"/>
              <a:gd name="connsiteX119" fmla="*/ 59649 w 414501"/>
              <a:gd name="connsiteY119" fmla="*/ 128378 h 607427"/>
              <a:gd name="connsiteX120" fmla="*/ 58257 w 414501"/>
              <a:gd name="connsiteY120" fmla="*/ 133012 h 607427"/>
              <a:gd name="connsiteX121" fmla="*/ 58164 w 414501"/>
              <a:gd name="connsiteY121" fmla="*/ 132549 h 607427"/>
              <a:gd name="connsiteX122" fmla="*/ 54821 w 414501"/>
              <a:gd name="connsiteY122" fmla="*/ 173982 h 607427"/>
              <a:gd name="connsiteX123" fmla="*/ 60021 w 414501"/>
              <a:gd name="connsiteY123" fmla="*/ 173982 h 607427"/>
              <a:gd name="connsiteX124" fmla="*/ 60021 w 414501"/>
              <a:gd name="connsiteY124" fmla="*/ 172684 h 607427"/>
              <a:gd name="connsiteX125" fmla="*/ 88524 w 414501"/>
              <a:gd name="connsiteY125" fmla="*/ 144135 h 607427"/>
              <a:gd name="connsiteX126" fmla="*/ 117120 w 414501"/>
              <a:gd name="connsiteY126" fmla="*/ 172684 h 607427"/>
              <a:gd name="connsiteX127" fmla="*/ 117120 w 414501"/>
              <a:gd name="connsiteY127" fmla="*/ 252584 h 607427"/>
              <a:gd name="connsiteX128" fmla="*/ 88524 w 414501"/>
              <a:gd name="connsiteY128" fmla="*/ 281133 h 607427"/>
              <a:gd name="connsiteX129" fmla="*/ 60021 w 414501"/>
              <a:gd name="connsiteY129" fmla="*/ 252584 h 607427"/>
              <a:gd name="connsiteX130" fmla="*/ 60021 w 414501"/>
              <a:gd name="connsiteY130" fmla="*/ 251287 h 607427"/>
              <a:gd name="connsiteX131" fmla="*/ 50922 w 414501"/>
              <a:gd name="connsiteY131" fmla="*/ 251287 h 607427"/>
              <a:gd name="connsiteX132" fmla="*/ 50922 w 414501"/>
              <a:gd name="connsiteY132" fmla="*/ 212263 h 607427"/>
              <a:gd name="connsiteX133" fmla="*/ 47208 w 414501"/>
              <a:gd name="connsiteY133" fmla="*/ 212634 h 607427"/>
              <a:gd name="connsiteX134" fmla="*/ 57978 w 414501"/>
              <a:gd name="connsiteY134" fmla="*/ 98902 h 607427"/>
              <a:gd name="connsiteX135" fmla="*/ 59464 w 414501"/>
              <a:gd name="connsiteY135" fmla="*/ 92877 h 607427"/>
              <a:gd name="connsiteX136" fmla="*/ 71533 w 414501"/>
              <a:gd name="connsiteY136" fmla="*/ 66367 h 607427"/>
              <a:gd name="connsiteX137" fmla="*/ 76268 w 414501"/>
              <a:gd name="connsiteY137" fmla="*/ 59601 h 607427"/>
              <a:gd name="connsiteX138" fmla="*/ 78775 w 414501"/>
              <a:gd name="connsiteY138" fmla="*/ 56264 h 607427"/>
              <a:gd name="connsiteX139" fmla="*/ 81561 w 414501"/>
              <a:gd name="connsiteY139" fmla="*/ 52927 h 607427"/>
              <a:gd name="connsiteX140" fmla="*/ 83046 w 414501"/>
              <a:gd name="connsiteY140" fmla="*/ 51258 h 607427"/>
              <a:gd name="connsiteX141" fmla="*/ 84532 w 414501"/>
              <a:gd name="connsiteY141" fmla="*/ 49683 h 607427"/>
              <a:gd name="connsiteX142" fmla="*/ 87595 w 414501"/>
              <a:gd name="connsiteY142" fmla="*/ 46439 h 607427"/>
              <a:gd name="connsiteX143" fmla="*/ 90845 w 414501"/>
              <a:gd name="connsiteY143" fmla="*/ 43287 h 607427"/>
              <a:gd name="connsiteX144" fmla="*/ 94280 w 414501"/>
              <a:gd name="connsiteY144" fmla="*/ 40136 h 607427"/>
              <a:gd name="connsiteX145" fmla="*/ 97808 w 414501"/>
              <a:gd name="connsiteY145" fmla="*/ 37077 h 607427"/>
              <a:gd name="connsiteX146" fmla="*/ 101522 w 414501"/>
              <a:gd name="connsiteY146" fmla="*/ 34203 h 607427"/>
              <a:gd name="connsiteX147" fmla="*/ 109321 w 414501"/>
              <a:gd name="connsiteY147" fmla="*/ 28549 h 607427"/>
              <a:gd name="connsiteX148" fmla="*/ 126404 w 414501"/>
              <a:gd name="connsiteY148" fmla="*/ 18631 h 607427"/>
              <a:gd name="connsiteX149" fmla="*/ 165306 w 414501"/>
              <a:gd name="connsiteY149" fmla="*/ 4727 h 607427"/>
              <a:gd name="connsiteX150" fmla="*/ 186196 w 414501"/>
              <a:gd name="connsiteY150" fmla="*/ 1205 h 607427"/>
              <a:gd name="connsiteX151" fmla="*/ 191581 w 414501"/>
              <a:gd name="connsiteY151" fmla="*/ 649 h 607427"/>
              <a:gd name="connsiteX152" fmla="*/ 196873 w 414501"/>
              <a:gd name="connsiteY152" fmla="*/ 371 h 607427"/>
              <a:gd name="connsiteX153" fmla="*/ 202165 w 414501"/>
              <a:gd name="connsiteY153" fmla="*/ 93 h 60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414501" h="607427">
                <a:moveTo>
                  <a:pt x="207204" y="101896"/>
                </a:moveTo>
                <a:cubicBezTo>
                  <a:pt x="244802" y="101896"/>
                  <a:pt x="277572" y="120898"/>
                  <a:pt x="295396" y="154081"/>
                </a:cubicBezTo>
                <a:cubicBezTo>
                  <a:pt x="292147" y="159364"/>
                  <a:pt x="290290" y="165574"/>
                  <a:pt x="290290" y="172248"/>
                </a:cubicBezTo>
                <a:lnTo>
                  <a:pt x="290290" y="252239"/>
                </a:lnTo>
                <a:cubicBezTo>
                  <a:pt x="290290" y="260674"/>
                  <a:pt x="293261" y="268367"/>
                  <a:pt x="298274" y="274392"/>
                </a:cubicBezTo>
                <a:cubicBezTo>
                  <a:pt x="290476" y="295062"/>
                  <a:pt x="278964" y="313507"/>
                  <a:pt x="264947" y="327503"/>
                </a:cubicBezTo>
                <a:cubicBezTo>
                  <a:pt x="267360" y="330006"/>
                  <a:pt x="270609" y="333065"/>
                  <a:pt x="273951" y="335660"/>
                </a:cubicBezTo>
                <a:cubicBezTo>
                  <a:pt x="295210" y="350954"/>
                  <a:pt x="333922" y="363838"/>
                  <a:pt x="349611" y="368658"/>
                </a:cubicBezTo>
                <a:cubicBezTo>
                  <a:pt x="367435" y="375424"/>
                  <a:pt x="376347" y="385805"/>
                  <a:pt x="377925" y="387845"/>
                </a:cubicBezTo>
                <a:cubicBezTo>
                  <a:pt x="410788" y="436414"/>
                  <a:pt x="414501" y="545603"/>
                  <a:pt x="414501" y="546623"/>
                </a:cubicBezTo>
                <a:cubicBezTo>
                  <a:pt x="414223" y="561175"/>
                  <a:pt x="409859" y="566087"/>
                  <a:pt x="408374" y="566736"/>
                </a:cubicBezTo>
                <a:cubicBezTo>
                  <a:pt x="335407" y="599178"/>
                  <a:pt x="249443" y="607427"/>
                  <a:pt x="207204" y="607427"/>
                </a:cubicBezTo>
                <a:cubicBezTo>
                  <a:pt x="165058" y="607427"/>
                  <a:pt x="79094" y="599178"/>
                  <a:pt x="6127" y="566736"/>
                </a:cubicBezTo>
                <a:cubicBezTo>
                  <a:pt x="4549" y="566087"/>
                  <a:pt x="278" y="561175"/>
                  <a:pt x="0" y="546623"/>
                </a:cubicBezTo>
                <a:cubicBezTo>
                  <a:pt x="0" y="545510"/>
                  <a:pt x="3713" y="436414"/>
                  <a:pt x="36576" y="387845"/>
                </a:cubicBezTo>
                <a:cubicBezTo>
                  <a:pt x="38154" y="385805"/>
                  <a:pt x="47067" y="375424"/>
                  <a:pt x="64891" y="368658"/>
                </a:cubicBezTo>
                <a:cubicBezTo>
                  <a:pt x="80579" y="363838"/>
                  <a:pt x="119291" y="350954"/>
                  <a:pt x="140457" y="335660"/>
                </a:cubicBezTo>
                <a:cubicBezTo>
                  <a:pt x="143892" y="333065"/>
                  <a:pt x="147141" y="330006"/>
                  <a:pt x="149462" y="327503"/>
                </a:cubicBezTo>
                <a:cubicBezTo>
                  <a:pt x="135351" y="313415"/>
                  <a:pt x="123747" y="294691"/>
                  <a:pt x="115949" y="273743"/>
                </a:cubicBezTo>
                <a:cubicBezTo>
                  <a:pt x="120684" y="267811"/>
                  <a:pt x="123469" y="260396"/>
                  <a:pt x="123469" y="252239"/>
                </a:cubicBezTo>
                <a:lnTo>
                  <a:pt x="123469" y="172248"/>
                </a:lnTo>
                <a:cubicBezTo>
                  <a:pt x="123469" y="165852"/>
                  <a:pt x="121798" y="159920"/>
                  <a:pt x="118734" y="154822"/>
                </a:cubicBezTo>
                <a:cubicBezTo>
                  <a:pt x="136465" y="121176"/>
                  <a:pt x="169421" y="101896"/>
                  <a:pt x="207204" y="101896"/>
                </a:cubicBezTo>
                <a:close/>
                <a:moveTo>
                  <a:pt x="207921" y="0"/>
                </a:moveTo>
                <a:lnTo>
                  <a:pt x="212749" y="93"/>
                </a:lnTo>
                <a:lnTo>
                  <a:pt x="215163" y="186"/>
                </a:lnTo>
                <a:cubicBezTo>
                  <a:pt x="215627" y="186"/>
                  <a:pt x="216091" y="186"/>
                  <a:pt x="216556" y="186"/>
                </a:cubicBezTo>
                <a:lnTo>
                  <a:pt x="217948" y="278"/>
                </a:lnTo>
                <a:cubicBezTo>
                  <a:pt x="219805" y="464"/>
                  <a:pt x="221662" y="556"/>
                  <a:pt x="223519" y="649"/>
                </a:cubicBezTo>
                <a:cubicBezTo>
                  <a:pt x="225376" y="834"/>
                  <a:pt x="227047" y="1020"/>
                  <a:pt x="228811" y="1205"/>
                </a:cubicBezTo>
                <a:cubicBezTo>
                  <a:pt x="235867" y="1947"/>
                  <a:pt x="242923" y="3244"/>
                  <a:pt x="249794" y="4727"/>
                </a:cubicBezTo>
                <a:cubicBezTo>
                  <a:pt x="263442" y="7879"/>
                  <a:pt x="276626" y="12513"/>
                  <a:pt x="288695" y="18631"/>
                </a:cubicBezTo>
                <a:cubicBezTo>
                  <a:pt x="294730" y="21505"/>
                  <a:pt x="300394" y="24934"/>
                  <a:pt x="305779" y="28549"/>
                </a:cubicBezTo>
                <a:cubicBezTo>
                  <a:pt x="308471" y="30403"/>
                  <a:pt x="311164" y="32164"/>
                  <a:pt x="313578" y="34111"/>
                </a:cubicBezTo>
                <a:cubicBezTo>
                  <a:pt x="314877" y="35130"/>
                  <a:pt x="316084" y="36057"/>
                  <a:pt x="317291" y="37077"/>
                </a:cubicBezTo>
                <a:cubicBezTo>
                  <a:pt x="318498" y="38096"/>
                  <a:pt x="319705" y="39116"/>
                  <a:pt x="320912" y="40136"/>
                </a:cubicBezTo>
                <a:cubicBezTo>
                  <a:pt x="322026" y="41062"/>
                  <a:pt x="323141" y="42175"/>
                  <a:pt x="324255" y="43194"/>
                </a:cubicBezTo>
                <a:cubicBezTo>
                  <a:pt x="325369" y="44307"/>
                  <a:pt x="326483" y="45326"/>
                  <a:pt x="327504" y="46346"/>
                </a:cubicBezTo>
                <a:cubicBezTo>
                  <a:pt x="328525" y="47458"/>
                  <a:pt x="329547" y="48570"/>
                  <a:pt x="330568" y="49590"/>
                </a:cubicBezTo>
                <a:cubicBezTo>
                  <a:pt x="331125" y="50146"/>
                  <a:pt x="331589" y="50702"/>
                  <a:pt x="332146" y="51258"/>
                </a:cubicBezTo>
                <a:cubicBezTo>
                  <a:pt x="332611" y="51815"/>
                  <a:pt x="333075" y="52371"/>
                  <a:pt x="333539" y="52927"/>
                </a:cubicBezTo>
                <a:cubicBezTo>
                  <a:pt x="334467" y="54039"/>
                  <a:pt x="335396" y="55059"/>
                  <a:pt x="336324" y="56171"/>
                </a:cubicBezTo>
                <a:cubicBezTo>
                  <a:pt x="337160" y="57283"/>
                  <a:pt x="338088" y="58488"/>
                  <a:pt x="338924" y="59601"/>
                </a:cubicBezTo>
                <a:cubicBezTo>
                  <a:pt x="340595" y="61825"/>
                  <a:pt x="342081" y="64143"/>
                  <a:pt x="343566" y="66367"/>
                </a:cubicBezTo>
                <a:cubicBezTo>
                  <a:pt x="349415" y="75358"/>
                  <a:pt x="353315" y="84535"/>
                  <a:pt x="355636" y="92877"/>
                </a:cubicBezTo>
                <a:cubicBezTo>
                  <a:pt x="356564" y="96121"/>
                  <a:pt x="357307" y="99273"/>
                  <a:pt x="357771" y="102331"/>
                </a:cubicBezTo>
                <a:cubicBezTo>
                  <a:pt x="373926" y="145618"/>
                  <a:pt x="367613" y="209205"/>
                  <a:pt x="367241" y="212634"/>
                </a:cubicBezTo>
                <a:lnTo>
                  <a:pt x="362785" y="212171"/>
                </a:lnTo>
                <a:lnTo>
                  <a:pt x="362785" y="251287"/>
                </a:lnTo>
                <a:lnTo>
                  <a:pt x="353686" y="251287"/>
                </a:lnTo>
                <a:lnTo>
                  <a:pt x="353686" y="252584"/>
                </a:lnTo>
                <a:cubicBezTo>
                  <a:pt x="353686" y="268342"/>
                  <a:pt x="340874" y="281133"/>
                  <a:pt x="325090" y="281133"/>
                </a:cubicBezTo>
                <a:cubicBezTo>
                  <a:pt x="309307" y="281133"/>
                  <a:pt x="296587" y="268342"/>
                  <a:pt x="296587" y="252584"/>
                </a:cubicBezTo>
                <a:lnTo>
                  <a:pt x="296587" y="172684"/>
                </a:lnTo>
                <a:cubicBezTo>
                  <a:pt x="296587" y="156927"/>
                  <a:pt x="309307" y="144135"/>
                  <a:pt x="325090" y="144135"/>
                </a:cubicBezTo>
                <a:cubicBezTo>
                  <a:pt x="340874" y="144135"/>
                  <a:pt x="353686" y="156927"/>
                  <a:pt x="353686" y="172684"/>
                </a:cubicBezTo>
                <a:lnTo>
                  <a:pt x="353686" y="173982"/>
                </a:lnTo>
                <a:lnTo>
                  <a:pt x="359628" y="173982"/>
                </a:lnTo>
                <a:cubicBezTo>
                  <a:pt x="359442" y="160171"/>
                  <a:pt x="358421" y="144135"/>
                  <a:pt x="355636" y="129027"/>
                </a:cubicBezTo>
                <a:cubicBezTo>
                  <a:pt x="355543" y="128841"/>
                  <a:pt x="355543" y="128656"/>
                  <a:pt x="355450" y="128470"/>
                </a:cubicBezTo>
                <a:cubicBezTo>
                  <a:pt x="355357" y="128100"/>
                  <a:pt x="355265" y="127636"/>
                  <a:pt x="355172" y="127265"/>
                </a:cubicBezTo>
                <a:cubicBezTo>
                  <a:pt x="354986" y="126895"/>
                  <a:pt x="354893" y="126431"/>
                  <a:pt x="354707" y="125968"/>
                </a:cubicBezTo>
                <a:cubicBezTo>
                  <a:pt x="354429" y="125134"/>
                  <a:pt x="354058" y="124114"/>
                  <a:pt x="353686" y="123094"/>
                </a:cubicBezTo>
                <a:cubicBezTo>
                  <a:pt x="353408" y="122075"/>
                  <a:pt x="352943" y="120962"/>
                  <a:pt x="352479" y="119850"/>
                </a:cubicBezTo>
                <a:cubicBezTo>
                  <a:pt x="352015" y="118645"/>
                  <a:pt x="351551" y="117440"/>
                  <a:pt x="350994" y="116235"/>
                </a:cubicBezTo>
                <a:cubicBezTo>
                  <a:pt x="348765" y="111137"/>
                  <a:pt x="345702" y="105298"/>
                  <a:pt x="341524" y="99273"/>
                </a:cubicBezTo>
                <a:cubicBezTo>
                  <a:pt x="337253" y="93248"/>
                  <a:pt x="332054" y="86945"/>
                  <a:pt x="325554" y="81105"/>
                </a:cubicBezTo>
                <a:cubicBezTo>
                  <a:pt x="323790" y="79622"/>
                  <a:pt x="322212" y="78046"/>
                  <a:pt x="320448" y="76656"/>
                </a:cubicBezTo>
                <a:cubicBezTo>
                  <a:pt x="319520" y="76007"/>
                  <a:pt x="318684" y="75266"/>
                  <a:pt x="317756" y="74524"/>
                </a:cubicBezTo>
                <a:cubicBezTo>
                  <a:pt x="316827" y="73782"/>
                  <a:pt x="315899" y="73134"/>
                  <a:pt x="314970" y="72392"/>
                </a:cubicBezTo>
                <a:cubicBezTo>
                  <a:pt x="314506" y="72021"/>
                  <a:pt x="314042" y="71743"/>
                  <a:pt x="313578" y="71373"/>
                </a:cubicBezTo>
                <a:cubicBezTo>
                  <a:pt x="313021" y="71002"/>
                  <a:pt x="312556" y="70724"/>
                  <a:pt x="312092" y="70353"/>
                </a:cubicBezTo>
                <a:cubicBezTo>
                  <a:pt x="311071" y="69704"/>
                  <a:pt x="310050" y="68963"/>
                  <a:pt x="309121" y="68314"/>
                </a:cubicBezTo>
                <a:cubicBezTo>
                  <a:pt x="308100" y="67665"/>
                  <a:pt x="306986" y="67016"/>
                  <a:pt x="305964" y="66367"/>
                </a:cubicBezTo>
                <a:cubicBezTo>
                  <a:pt x="304943" y="65718"/>
                  <a:pt x="303922" y="64977"/>
                  <a:pt x="302808" y="64421"/>
                </a:cubicBezTo>
                <a:cubicBezTo>
                  <a:pt x="298537" y="61918"/>
                  <a:pt x="293987" y="59601"/>
                  <a:pt x="289252" y="57283"/>
                </a:cubicBezTo>
                <a:cubicBezTo>
                  <a:pt x="288045" y="56727"/>
                  <a:pt x="286839" y="56264"/>
                  <a:pt x="285632" y="55708"/>
                </a:cubicBezTo>
                <a:cubicBezTo>
                  <a:pt x="284425" y="55244"/>
                  <a:pt x="283218" y="54595"/>
                  <a:pt x="282011" y="54132"/>
                </a:cubicBezTo>
                <a:cubicBezTo>
                  <a:pt x="280711" y="53668"/>
                  <a:pt x="279504" y="53205"/>
                  <a:pt x="278204" y="52742"/>
                </a:cubicBezTo>
                <a:cubicBezTo>
                  <a:pt x="276997" y="52185"/>
                  <a:pt x="275697" y="51815"/>
                  <a:pt x="274397" y="51351"/>
                </a:cubicBezTo>
                <a:cubicBezTo>
                  <a:pt x="264277" y="47644"/>
                  <a:pt x="253322" y="44955"/>
                  <a:pt x="242088" y="43009"/>
                </a:cubicBezTo>
                <a:cubicBezTo>
                  <a:pt x="240695" y="42731"/>
                  <a:pt x="239210" y="42545"/>
                  <a:pt x="237817" y="42360"/>
                </a:cubicBezTo>
                <a:cubicBezTo>
                  <a:pt x="236424" y="42175"/>
                  <a:pt x="235032" y="41897"/>
                  <a:pt x="233546" y="41804"/>
                </a:cubicBezTo>
                <a:cubicBezTo>
                  <a:pt x="230668" y="41433"/>
                  <a:pt x="227790" y="41062"/>
                  <a:pt x="224912" y="40877"/>
                </a:cubicBezTo>
                <a:cubicBezTo>
                  <a:pt x="223519" y="40784"/>
                  <a:pt x="222033" y="40599"/>
                  <a:pt x="220641" y="40599"/>
                </a:cubicBezTo>
                <a:cubicBezTo>
                  <a:pt x="219248" y="40506"/>
                  <a:pt x="217948" y="40414"/>
                  <a:pt x="216556" y="40321"/>
                </a:cubicBezTo>
                <a:lnTo>
                  <a:pt x="215534" y="40321"/>
                </a:lnTo>
                <a:cubicBezTo>
                  <a:pt x="215163" y="40321"/>
                  <a:pt x="214884" y="40228"/>
                  <a:pt x="214420" y="40228"/>
                </a:cubicBezTo>
                <a:lnTo>
                  <a:pt x="212006" y="40228"/>
                </a:lnTo>
                <a:lnTo>
                  <a:pt x="207457" y="40136"/>
                </a:lnTo>
                <a:cubicBezTo>
                  <a:pt x="207457" y="40136"/>
                  <a:pt x="207364" y="40136"/>
                  <a:pt x="207364" y="40136"/>
                </a:cubicBezTo>
                <a:lnTo>
                  <a:pt x="207271" y="40136"/>
                </a:lnTo>
                <a:lnTo>
                  <a:pt x="206993" y="40136"/>
                </a:lnTo>
                <a:lnTo>
                  <a:pt x="206436" y="40136"/>
                </a:lnTo>
                <a:lnTo>
                  <a:pt x="205322" y="40228"/>
                </a:lnTo>
                <a:lnTo>
                  <a:pt x="203186" y="40228"/>
                </a:lnTo>
                <a:cubicBezTo>
                  <a:pt x="201701" y="40228"/>
                  <a:pt x="200308" y="40228"/>
                  <a:pt x="198822" y="40321"/>
                </a:cubicBezTo>
                <a:cubicBezTo>
                  <a:pt x="197337" y="40414"/>
                  <a:pt x="195944" y="40506"/>
                  <a:pt x="194459" y="40506"/>
                </a:cubicBezTo>
                <a:cubicBezTo>
                  <a:pt x="192973" y="40599"/>
                  <a:pt x="191581" y="40784"/>
                  <a:pt x="190095" y="40877"/>
                </a:cubicBezTo>
                <a:cubicBezTo>
                  <a:pt x="187217" y="41062"/>
                  <a:pt x="184432" y="41433"/>
                  <a:pt x="181553" y="41711"/>
                </a:cubicBezTo>
                <a:cubicBezTo>
                  <a:pt x="180068" y="41897"/>
                  <a:pt x="178675" y="42175"/>
                  <a:pt x="177283" y="42360"/>
                </a:cubicBezTo>
                <a:cubicBezTo>
                  <a:pt x="175890" y="42545"/>
                  <a:pt x="174404" y="42731"/>
                  <a:pt x="173012" y="43009"/>
                </a:cubicBezTo>
                <a:cubicBezTo>
                  <a:pt x="161778" y="44863"/>
                  <a:pt x="150822" y="47644"/>
                  <a:pt x="140609" y="51258"/>
                </a:cubicBezTo>
                <a:cubicBezTo>
                  <a:pt x="135503" y="53020"/>
                  <a:pt x="130582" y="55152"/>
                  <a:pt x="125847" y="57283"/>
                </a:cubicBezTo>
                <a:cubicBezTo>
                  <a:pt x="121112" y="59508"/>
                  <a:pt x="116470" y="61825"/>
                  <a:pt x="112199" y="64421"/>
                </a:cubicBezTo>
                <a:cubicBezTo>
                  <a:pt x="111085" y="64977"/>
                  <a:pt x="110064" y="65626"/>
                  <a:pt x="109042" y="66274"/>
                </a:cubicBezTo>
                <a:cubicBezTo>
                  <a:pt x="108021" y="67016"/>
                  <a:pt x="107000" y="67572"/>
                  <a:pt x="105978" y="68221"/>
                </a:cubicBezTo>
                <a:cubicBezTo>
                  <a:pt x="104957" y="68963"/>
                  <a:pt x="103936" y="69611"/>
                  <a:pt x="103007" y="70260"/>
                </a:cubicBezTo>
                <a:cubicBezTo>
                  <a:pt x="102450" y="70631"/>
                  <a:pt x="101986" y="71002"/>
                  <a:pt x="101522" y="71280"/>
                </a:cubicBezTo>
                <a:cubicBezTo>
                  <a:pt x="101058" y="71651"/>
                  <a:pt x="100594" y="72021"/>
                  <a:pt x="100129" y="72392"/>
                </a:cubicBezTo>
                <a:cubicBezTo>
                  <a:pt x="99108" y="73041"/>
                  <a:pt x="98180" y="73782"/>
                  <a:pt x="97251" y="74431"/>
                </a:cubicBezTo>
                <a:cubicBezTo>
                  <a:pt x="96416" y="75173"/>
                  <a:pt x="95487" y="75914"/>
                  <a:pt x="94652" y="76656"/>
                </a:cubicBezTo>
                <a:cubicBezTo>
                  <a:pt x="92795" y="78046"/>
                  <a:pt x="91216" y="79622"/>
                  <a:pt x="89545" y="81012"/>
                </a:cubicBezTo>
                <a:cubicBezTo>
                  <a:pt x="83046" y="86945"/>
                  <a:pt x="77754" y="93248"/>
                  <a:pt x="73576" y="99273"/>
                </a:cubicBezTo>
                <a:cubicBezTo>
                  <a:pt x="69398" y="105298"/>
                  <a:pt x="66241" y="111137"/>
                  <a:pt x="64013" y="116142"/>
                </a:cubicBezTo>
                <a:cubicBezTo>
                  <a:pt x="63456" y="117440"/>
                  <a:pt x="63085" y="118645"/>
                  <a:pt x="62620" y="119850"/>
                </a:cubicBezTo>
                <a:cubicBezTo>
                  <a:pt x="62156" y="120962"/>
                  <a:pt x="61692" y="122075"/>
                  <a:pt x="61321" y="123094"/>
                </a:cubicBezTo>
                <a:cubicBezTo>
                  <a:pt x="61042" y="124114"/>
                  <a:pt x="60671" y="125041"/>
                  <a:pt x="60392" y="125968"/>
                </a:cubicBezTo>
                <a:cubicBezTo>
                  <a:pt x="60206" y="126431"/>
                  <a:pt x="60114" y="126802"/>
                  <a:pt x="59928" y="127265"/>
                </a:cubicBezTo>
                <a:cubicBezTo>
                  <a:pt x="59835" y="127636"/>
                  <a:pt x="59742" y="128007"/>
                  <a:pt x="59649" y="128378"/>
                </a:cubicBezTo>
                <a:cubicBezTo>
                  <a:pt x="58814" y="131437"/>
                  <a:pt x="58257" y="133012"/>
                  <a:pt x="58257" y="133012"/>
                </a:cubicBezTo>
                <a:cubicBezTo>
                  <a:pt x="58257" y="133012"/>
                  <a:pt x="58257" y="132827"/>
                  <a:pt x="58164" y="132549"/>
                </a:cubicBezTo>
                <a:cubicBezTo>
                  <a:pt x="55843" y="146638"/>
                  <a:pt x="55007" y="161190"/>
                  <a:pt x="54821" y="173982"/>
                </a:cubicBezTo>
                <a:lnTo>
                  <a:pt x="60021" y="173982"/>
                </a:lnTo>
                <a:lnTo>
                  <a:pt x="60021" y="172684"/>
                </a:lnTo>
                <a:cubicBezTo>
                  <a:pt x="60021" y="156927"/>
                  <a:pt x="72740" y="144135"/>
                  <a:pt x="88524" y="144135"/>
                </a:cubicBezTo>
                <a:cubicBezTo>
                  <a:pt x="104307" y="144135"/>
                  <a:pt x="117120" y="156927"/>
                  <a:pt x="117120" y="172684"/>
                </a:cubicBezTo>
                <a:lnTo>
                  <a:pt x="117120" y="252584"/>
                </a:lnTo>
                <a:cubicBezTo>
                  <a:pt x="117120" y="268342"/>
                  <a:pt x="104307" y="281133"/>
                  <a:pt x="88524" y="281133"/>
                </a:cubicBezTo>
                <a:cubicBezTo>
                  <a:pt x="72740" y="281133"/>
                  <a:pt x="60021" y="268342"/>
                  <a:pt x="60021" y="252584"/>
                </a:cubicBezTo>
                <a:lnTo>
                  <a:pt x="60021" y="251287"/>
                </a:lnTo>
                <a:lnTo>
                  <a:pt x="50922" y="251287"/>
                </a:lnTo>
                <a:lnTo>
                  <a:pt x="50922" y="212263"/>
                </a:lnTo>
                <a:lnTo>
                  <a:pt x="47208" y="212634"/>
                </a:lnTo>
                <a:cubicBezTo>
                  <a:pt x="46837" y="209112"/>
                  <a:pt x="40152" y="142189"/>
                  <a:pt x="57978" y="98902"/>
                </a:cubicBezTo>
                <a:cubicBezTo>
                  <a:pt x="58442" y="96955"/>
                  <a:pt x="58907" y="94916"/>
                  <a:pt x="59464" y="92877"/>
                </a:cubicBezTo>
                <a:cubicBezTo>
                  <a:pt x="61785" y="84535"/>
                  <a:pt x="65684" y="75451"/>
                  <a:pt x="71533" y="66367"/>
                </a:cubicBezTo>
                <a:cubicBezTo>
                  <a:pt x="73019" y="64143"/>
                  <a:pt x="74504" y="61825"/>
                  <a:pt x="76268" y="59601"/>
                </a:cubicBezTo>
                <a:cubicBezTo>
                  <a:pt x="77104" y="58488"/>
                  <a:pt x="77940" y="57376"/>
                  <a:pt x="78775" y="56264"/>
                </a:cubicBezTo>
                <a:cubicBezTo>
                  <a:pt x="79704" y="55152"/>
                  <a:pt x="80632" y="54039"/>
                  <a:pt x="81561" y="52927"/>
                </a:cubicBezTo>
                <a:cubicBezTo>
                  <a:pt x="82025" y="52371"/>
                  <a:pt x="82489" y="51815"/>
                  <a:pt x="83046" y="51258"/>
                </a:cubicBezTo>
                <a:cubicBezTo>
                  <a:pt x="83510" y="50702"/>
                  <a:pt x="83974" y="50146"/>
                  <a:pt x="84532" y="49683"/>
                </a:cubicBezTo>
                <a:cubicBezTo>
                  <a:pt x="85553" y="48570"/>
                  <a:pt x="86574" y="47458"/>
                  <a:pt x="87595" y="46439"/>
                </a:cubicBezTo>
                <a:cubicBezTo>
                  <a:pt x="88617" y="45326"/>
                  <a:pt x="89731" y="44307"/>
                  <a:pt x="90845" y="43287"/>
                </a:cubicBezTo>
                <a:cubicBezTo>
                  <a:pt x="91959" y="42175"/>
                  <a:pt x="93073" y="41155"/>
                  <a:pt x="94280" y="40136"/>
                </a:cubicBezTo>
                <a:cubicBezTo>
                  <a:pt x="95394" y="39116"/>
                  <a:pt x="96601" y="38096"/>
                  <a:pt x="97808" y="37077"/>
                </a:cubicBezTo>
                <a:cubicBezTo>
                  <a:pt x="99015" y="36057"/>
                  <a:pt x="100222" y="35223"/>
                  <a:pt x="101522" y="34203"/>
                </a:cubicBezTo>
                <a:cubicBezTo>
                  <a:pt x="104029" y="32164"/>
                  <a:pt x="106628" y="30403"/>
                  <a:pt x="109321" y="28549"/>
                </a:cubicBezTo>
                <a:cubicBezTo>
                  <a:pt x="114706" y="25027"/>
                  <a:pt x="120369" y="21597"/>
                  <a:pt x="126404" y="18631"/>
                </a:cubicBezTo>
                <a:cubicBezTo>
                  <a:pt x="138474" y="12513"/>
                  <a:pt x="151658" y="7972"/>
                  <a:pt x="165306" y="4727"/>
                </a:cubicBezTo>
                <a:cubicBezTo>
                  <a:pt x="172176" y="3244"/>
                  <a:pt x="179140" y="1947"/>
                  <a:pt x="186196" y="1205"/>
                </a:cubicBezTo>
                <a:cubicBezTo>
                  <a:pt x="187960" y="1020"/>
                  <a:pt x="189817" y="834"/>
                  <a:pt x="191581" y="649"/>
                </a:cubicBezTo>
                <a:lnTo>
                  <a:pt x="196873" y="371"/>
                </a:lnTo>
                <a:cubicBezTo>
                  <a:pt x="198637" y="186"/>
                  <a:pt x="200401" y="186"/>
                  <a:pt x="202165" y="9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3" name="profits_344083">
            <a:extLst>
              <a:ext uri="{FF2B5EF4-FFF2-40B4-BE49-F238E27FC236}">
                <a16:creationId xmlns:a16="http://schemas.microsoft.com/office/drawing/2014/main" id="{9984FB88-35EE-4653-A0EC-B442E971BFA3}"/>
              </a:ext>
            </a:extLst>
          </p:cNvPr>
          <p:cNvSpPr/>
          <p:nvPr/>
        </p:nvSpPr>
        <p:spPr>
          <a:xfrm>
            <a:off x="6308436" y="3003667"/>
            <a:ext cx="609685" cy="608767"/>
          </a:xfrm>
          <a:custGeom>
            <a:avLst/>
            <a:gdLst>
              <a:gd name="connsiteX0" fmla="*/ 589997 w 609614"/>
              <a:gd name="connsiteY0" fmla="*/ 589080 h 608697"/>
              <a:gd name="connsiteX1" fmla="*/ 609614 w 609614"/>
              <a:gd name="connsiteY1" fmla="*/ 589080 h 608697"/>
              <a:gd name="connsiteX2" fmla="*/ 609614 w 609614"/>
              <a:gd name="connsiteY2" fmla="*/ 608697 h 608697"/>
              <a:gd name="connsiteX3" fmla="*/ 589997 w 609614"/>
              <a:gd name="connsiteY3" fmla="*/ 608697 h 608697"/>
              <a:gd name="connsiteX4" fmla="*/ 363835 w 609614"/>
              <a:gd name="connsiteY4" fmla="*/ 589080 h 608697"/>
              <a:gd name="connsiteX5" fmla="*/ 383452 w 609614"/>
              <a:gd name="connsiteY5" fmla="*/ 589080 h 608697"/>
              <a:gd name="connsiteX6" fmla="*/ 383452 w 609614"/>
              <a:gd name="connsiteY6" fmla="*/ 608697 h 608697"/>
              <a:gd name="connsiteX7" fmla="*/ 363835 w 609614"/>
              <a:gd name="connsiteY7" fmla="*/ 608697 h 608697"/>
              <a:gd name="connsiteX8" fmla="*/ 304842 w 609614"/>
              <a:gd name="connsiteY8" fmla="*/ 589080 h 608697"/>
              <a:gd name="connsiteX9" fmla="*/ 324459 w 609614"/>
              <a:gd name="connsiteY9" fmla="*/ 589080 h 608697"/>
              <a:gd name="connsiteX10" fmla="*/ 324459 w 609614"/>
              <a:gd name="connsiteY10" fmla="*/ 608697 h 608697"/>
              <a:gd name="connsiteX11" fmla="*/ 304842 w 609614"/>
              <a:gd name="connsiteY11" fmla="*/ 608697 h 608697"/>
              <a:gd name="connsiteX12" fmla="*/ 127864 w 609614"/>
              <a:gd name="connsiteY12" fmla="*/ 589080 h 608697"/>
              <a:gd name="connsiteX13" fmla="*/ 147481 w 609614"/>
              <a:gd name="connsiteY13" fmla="*/ 589080 h 608697"/>
              <a:gd name="connsiteX14" fmla="*/ 147481 w 609614"/>
              <a:gd name="connsiteY14" fmla="*/ 608697 h 608697"/>
              <a:gd name="connsiteX15" fmla="*/ 127864 w 609614"/>
              <a:gd name="connsiteY15" fmla="*/ 608697 h 608697"/>
              <a:gd name="connsiteX16" fmla="*/ 432636 w 609614"/>
              <a:gd name="connsiteY16" fmla="*/ 569463 h 608697"/>
              <a:gd name="connsiteX17" fmla="*/ 452324 w 609614"/>
              <a:gd name="connsiteY17" fmla="*/ 569463 h 608697"/>
              <a:gd name="connsiteX18" fmla="*/ 452324 w 609614"/>
              <a:gd name="connsiteY18" fmla="*/ 589080 h 608697"/>
              <a:gd name="connsiteX19" fmla="*/ 432636 w 609614"/>
              <a:gd name="connsiteY19" fmla="*/ 589080 h 608697"/>
              <a:gd name="connsiteX20" fmla="*/ 235971 w 609614"/>
              <a:gd name="connsiteY20" fmla="*/ 569463 h 608697"/>
              <a:gd name="connsiteX21" fmla="*/ 255588 w 609614"/>
              <a:gd name="connsiteY21" fmla="*/ 569463 h 608697"/>
              <a:gd name="connsiteX22" fmla="*/ 255588 w 609614"/>
              <a:gd name="connsiteY22" fmla="*/ 589080 h 608697"/>
              <a:gd name="connsiteX23" fmla="*/ 235971 w 609614"/>
              <a:gd name="connsiteY23" fmla="*/ 589080 h 608697"/>
              <a:gd name="connsiteX24" fmla="*/ 68872 w 609614"/>
              <a:gd name="connsiteY24" fmla="*/ 569463 h 608697"/>
              <a:gd name="connsiteX25" fmla="*/ 88489 w 609614"/>
              <a:gd name="connsiteY25" fmla="*/ 569463 h 608697"/>
              <a:gd name="connsiteX26" fmla="*/ 88489 w 609614"/>
              <a:gd name="connsiteY26" fmla="*/ 589080 h 608697"/>
              <a:gd name="connsiteX27" fmla="*/ 68872 w 609614"/>
              <a:gd name="connsiteY27" fmla="*/ 589080 h 608697"/>
              <a:gd name="connsiteX28" fmla="*/ 511316 w 609614"/>
              <a:gd name="connsiteY28" fmla="*/ 549775 h 608697"/>
              <a:gd name="connsiteX29" fmla="*/ 531004 w 609614"/>
              <a:gd name="connsiteY29" fmla="*/ 549775 h 608697"/>
              <a:gd name="connsiteX30" fmla="*/ 531004 w 609614"/>
              <a:gd name="connsiteY30" fmla="*/ 569463 h 608697"/>
              <a:gd name="connsiteX31" fmla="*/ 511316 w 609614"/>
              <a:gd name="connsiteY31" fmla="*/ 569463 h 608697"/>
              <a:gd name="connsiteX32" fmla="*/ 196595 w 609614"/>
              <a:gd name="connsiteY32" fmla="*/ 549775 h 608697"/>
              <a:gd name="connsiteX33" fmla="*/ 216353 w 609614"/>
              <a:gd name="connsiteY33" fmla="*/ 549775 h 608697"/>
              <a:gd name="connsiteX34" fmla="*/ 216353 w 609614"/>
              <a:gd name="connsiteY34" fmla="*/ 569463 h 608697"/>
              <a:gd name="connsiteX35" fmla="*/ 196595 w 609614"/>
              <a:gd name="connsiteY35" fmla="*/ 569463 h 608697"/>
              <a:gd name="connsiteX36" fmla="*/ 363835 w 609614"/>
              <a:gd name="connsiteY36" fmla="*/ 540037 h 608697"/>
              <a:gd name="connsiteX37" fmla="*/ 383452 w 609614"/>
              <a:gd name="connsiteY37" fmla="*/ 540037 h 608697"/>
              <a:gd name="connsiteX38" fmla="*/ 383452 w 609614"/>
              <a:gd name="connsiteY38" fmla="*/ 569463 h 608697"/>
              <a:gd name="connsiteX39" fmla="*/ 363835 w 609614"/>
              <a:gd name="connsiteY39" fmla="*/ 569463 h 608697"/>
              <a:gd name="connsiteX40" fmla="*/ 304842 w 609614"/>
              <a:gd name="connsiteY40" fmla="*/ 540037 h 608697"/>
              <a:gd name="connsiteX41" fmla="*/ 324459 w 609614"/>
              <a:gd name="connsiteY41" fmla="*/ 540037 h 608697"/>
              <a:gd name="connsiteX42" fmla="*/ 324459 w 609614"/>
              <a:gd name="connsiteY42" fmla="*/ 569463 h 608697"/>
              <a:gd name="connsiteX43" fmla="*/ 304842 w 609614"/>
              <a:gd name="connsiteY43" fmla="*/ 569463 h 608697"/>
              <a:gd name="connsiteX44" fmla="*/ 0 w 609614"/>
              <a:gd name="connsiteY44" fmla="*/ 530158 h 608697"/>
              <a:gd name="connsiteX45" fmla="*/ 19617 w 609614"/>
              <a:gd name="connsiteY45" fmla="*/ 530158 h 608697"/>
              <a:gd name="connsiteX46" fmla="*/ 19617 w 609614"/>
              <a:gd name="connsiteY46" fmla="*/ 549775 h 608697"/>
              <a:gd name="connsiteX47" fmla="*/ 0 w 609614"/>
              <a:gd name="connsiteY47" fmla="*/ 549775 h 608697"/>
              <a:gd name="connsiteX48" fmla="*/ 0 w 609614"/>
              <a:gd name="connsiteY48" fmla="*/ 461427 h 608697"/>
              <a:gd name="connsiteX49" fmla="*/ 19617 w 609614"/>
              <a:gd name="connsiteY49" fmla="*/ 461427 h 608697"/>
              <a:gd name="connsiteX50" fmla="*/ 19617 w 609614"/>
              <a:gd name="connsiteY50" fmla="*/ 510611 h 608697"/>
              <a:gd name="connsiteX51" fmla="*/ 0 w 609614"/>
              <a:gd name="connsiteY51" fmla="*/ 510611 h 608697"/>
              <a:gd name="connsiteX52" fmla="*/ 511316 w 609614"/>
              <a:gd name="connsiteY52" fmla="*/ 402505 h 608697"/>
              <a:gd name="connsiteX53" fmla="*/ 531004 w 609614"/>
              <a:gd name="connsiteY53" fmla="*/ 402505 h 608697"/>
              <a:gd name="connsiteX54" fmla="*/ 531004 w 609614"/>
              <a:gd name="connsiteY54" fmla="*/ 530158 h 608697"/>
              <a:gd name="connsiteX55" fmla="*/ 511316 w 609614"/>
              <a:gd name="connsiteY55" fmla="*/ 530158 h 608697"/>
              <a:gd name="connsiteX56" fmla="*/ 127864 w 609614"/>
              <a:gd name="connsiteY56" fmla="*/ 402505 h 608697"/>
              <a:gd name="connsiteX57" fmla="*/ 147481 w 609614"/>
              <a:gd name="connsiteY57" fmla="*/ 402505 h 608697"/>
              <a:gd name="connsiteX58" fmla="*/ 147481 w 609614"/>
              <a:gd name="connsiteY58" fmla="*/ 569463 h 608697"/>
              <a:gd name="connsiteX59" fmla="*/ 127864 w 609614"/>
              <a:gd name="connsiteY59" fmla="*/ 569463 h 608697"/>
              <a:gd name="connsiteX60" fmla="*/ 68872 w 609614"/>
              <a:gd name="connsiteY60" fmla="*/ 402505 h 608697"/>
              <a:gd name="connsiteX61" fmla="*/ 88489 w 609614"/>
              <a:gd name="connsiteY61" fmla="*/ 402505 h 608697"/>
              <a:gd name="connsiteX62" fmla="*/ 88489 w 609614"/>
              <a:gd name="connsiteY62" fmla="*/ 549775 h 608697"/>
              <a:gd name="connsiteX63" fmla="*/ 68872 w 609614"/>
              <a:gd name="connsiteY63" fmla="*/ 549775 h 608697"/>
              <a:gd name="connsiteX64" fmla="*/ 334333 w 609614"/>
              <a:gd name="connsiteY64" fmla="*/ 343583 h 608697"/>
              <a:gd name="connsiteX65" fmla="*/ 353962 w 609614"/>
              <a:gd name="connsiteY65" fmla="*/ 343583 h 608697"/>
              <a:gd name="connsiteX66" fmla="*/ 353962 w 609614"/>
              <a:gd name="connsiteY66" fmla="*/ 363283 h 608697"/>
              <a:gd name="connsiteX67" fmla="*/ 383452 w 609614"/>
              <a:gd name="connsiteY67" fmla="*/ 392741 h 608697"/>
              <a:gd name="connsiteX68" fmla="*/ 363823 w 609614"/>
              <a:gd name="connsiteY68" fmla="*/ 392741 h 608697"/>
              <a:gd name="connsiteX69" fmla="*/ 353962 w 609614"/>
              <a:gd name="connsiteY69" fmla="*/ 382891 h 608697"/>
              <a:gd name="connsiteX70" fmla="*/ 334333 w 609614"/>
              <a:gd name="connsiteY70" fmla="*/ 382891 h 608697"/>
              <a:gd name="connsiteX71" fmla="*/ 324472 w 609614"/>
              <a:gd name="connsiteY71" fmla="*/ 392741 h 608697"/>
              <a:gd name="connsiteX72" fmla="*/ 334333 w 609614"/>
              <a:gd name="connsiteY72" fmla="*/ 402499 h 608697"/>
              <a:gd name="connsiteX73" fmla="*/ 353962 w 609614"/>
              <a:gd name="connsiteY73" fmla="*/ 402499 h 608697"/>
              <a:gd name="connsiteX74" fmla="*/ 383452 w 609614"/>
              <a:gd name="connsiteY74" fmla="*/ 431957 h 608697"/>
              <a:gd name="connsiteX75" fmla="*/ 353962 w 609614"/>
              <a:gd name="connsiteY75" fmla="*/ 461415 h 608697"/>
              <a:gd name="connsiteX76" fmla="*/ 353962 w 609614"/>
              <a:gd name="connsiteY76" fmla="*/ 481115 h 608697"/>
              <a:gd name="connsiteX77" fmla="*/ 334333 w 609614"/>
              <a:gd name="connsiteY77" fmla="*/ 481115 h 608697"/>
              <a:gd name="connsiteX78" fmla="*/ 334333 w 609614"/>
              <a:gd name="connsiteY78" fmla="*/ 461415 h 608697"/>
              <a:gd name="connsiteX79" fmla="*/ 304842 w 609614"/>
              <a:gd name="connsiteY79" fmla="*/ 431957 h 608697"/>
              <a:gd name="connsiteX80" fmla="*/ 324472 w 609614"/>
              <a:gd name="connsiteY80" fmla="*/ 431957 h 608697"/>
              <a:gd name="connsiteX81" fmla="*/ 334333 w 609614"/>
              <a:gd name="connsiteY81" fmla="*/ 441807 h 608697"/>
              <a:gd name="connsiteX82" fmla="*/ 353962 w 609614"/>
              <a:gd name="connsiteY82" fmla="*/ 441807 h 608697"/>
              <a:gd name="connsiteX83" fmla="*/ 363823 w 609614"/>
              <a:gd name="connsiteY83" fmla="*/ 431957 h 608697"/>
              <a:gd name="connsiteX84" fmla="*/ 353962 w 609614"/>
              <a:gd name="connsiteY84" fmla="*/ 422199 h 608697"/>
              <a:gd name="connsiteX85" fmla="*/ 334333 w 609614"/>
              <a:gd name="connsiteY85" fmla="*/ 422199 h 608697"/>
              <a:gd name="connsiteX86" fmla="*/ 304842 w 609614"/>
              <a:gd name="connsiteY86" fmla="*/ 392741 h 608697"/>
              <a:gd name="connsiteX87" fmla="*/ 334333 w 609614"/>
              <a:gd name="connsiteY87" fmla="*/ 363283 h 608697"/>
              <a:gd name="connsiteX88" fmla="*/ 344102 w 609614"/>
              <a:gd name="connsiteY88" fmla="*/ 324022 h 608697"/>
              <a:gd name="connsiteX89" fmla="*/ 255606 w 609614"/>
              <a:gd name="connsiteY89" fmla="*/ 412372 h 608697"/>
              <a:gd name="connsiteX90" fmla="*/ 344102 w 609614"/>
              <a:gd name="connsiteY90" fmla="*/ 500722 h 608697"/>
              <a:gd name="connsiteX91" fmla="*/ 432597 w 609614"/>
              <a:gd name="connsiteY91" fmla="*/ 412372 h 608697"/>
              <a:gd name="connsiteX92" fmla="*/ 344102 w 609614"/>
              <a:gd name="connsiteY92" fmla="*/ 324022 h 608697"/>
              <a:gd name="connsiteX93" fmla="*/ 344102 w 609614"/>
              <a:gd name="connsiteY93" fmla="*/ 304419 h 608697"/>
              <a:gd name="connsiteX94" fmla="*/ 452324 w 609614"/>
              <a:gd name="connsiteY94" fmla="*/ 412372 h 608697"/>
              <a:gd name="connsiteX95" fmla="*/ 452324 w 609614"/>
              <a:gd name="connsiteY95" fmla="*/ 549775 h 608697"/>
              <a:gd name="connsiteX96" fmla="*/ 432597 w 609614"/>
              <a:gd name="connsiteY96" fmla="*/ 549775 h 608697"/>
              <a:gd name="connsiteX97" fmla="*/ 432597 w 609614"/>
              <a:gd name="connsiteY97" fmla="*/ 474309 h 608697"/>
              <a:gd name="connsiteX98" fmla="*/ 344102 w 609614"/>
              <a:gd name="connsiteY98" fmla="*/ 520325 h 608697"/>
              <a:gd name="connsiteX99" fmla="*/ 255606 w 609614"/>
              <a:gd name="connsiteY99" fmla="*/ 474309 h 608697"/>
              <a:gd name="connsiteX100" fmla="*/ 255606 w 609614"/>
              <a:gd name="connsiteY100" fmla="*/ 549775 h 608697"/>
              <a:gd name="connsiteX101" fmla="*/ 235971 w 609614"/>
              <a:gd name="connsiteY101" fmla="*/ 549775 h 608697"/>
              <a:gd name="connsiteX102" fmla="*/ 235971 w 609614"/>
              <a:gd name="connsiteY102" fmla="*/ 412372 h 608697"/>
              <a:gd name="connsiteX103" fmla="*/ 344102 w 609614"/>
              <a:gd name="connsiteY103" fmla="*/ 304419 h 608697"/>
              <a:gd name="connsiteX104" fmla="*/ 511316 w 609614"/>
              <a:gd name="connsiteY104" fmla="*/ 284731 h 608697"/>
              <a:gd name="connsiteX105" fmla="*/ 531004 w 609614"/>
              <a:gd name="connsiteY105" fmla="*/ 284731 h 608697"/>
              <a:gd name="connsiteX106" fmla="*/ 531004 w 609614"/>
              <a:gd name="connsiteY106" fmla="*/ 382887 h 608697"/>
              <a:gd name="connsiteX107" fmla="*/ 511316 w 609614"/>
              <a:gd name="connsiteY107" fmla="*/ 382887 h 608697"/>
              <a:gd name="connsiteX108" fmla="*/ 412948 w 609614"/>
              <a:gd name="connsiteY108" fmla="*/ 284731 h 608697"/>
              <a:gd name="connsiteX109" fmla="*/ 432636 w 609614"/>
              <a:gd name="connsiteY109" fmla="*/ 284731 h 608697"/>
              <a:gd name="connsiteX110" fmla="*/ 432636 w 609614"/>
              <a:gd name="connsiteY110" fmla="*/ 314157 h 608697"/>
              <a:gd name="connsiteX111" fmla="*/ 412948 w 609614"/>
              <a:gd name="connsiteY111" fmla="*/ 314157 h 608697"/>
              <a:gd name="connsiteX112" fmla="*/ 255588 w 609614"/>
              <a:gd name="connsiteY112" fmla="*/ 284731 h 608697"/>
              <a:gd name="connsiteX113" fmla="*/ 275346 w 609614"/>
              <a:gd name="connsiteY113" fmla="*/ 284731 h 608697"/>
              <a:gd name="connsiteX114" fmla="*/ 275346 w 609614"/>
              <a:gd name="connsiteY114" fmla="*/ 304419 h 608697"/>
              <a:gd name="connsiteX115" fmla="*/ 255588 w 609614"/>
              <a:gd name="connsiteY115" fmla="*/ 304419 h 608697"/>
              <a:gd name="connsiteX116" fmla="*/ 98362 w 609614"/>
              <a:gd name="connsiteY116" fmla="*/ 206192 h 608697"/>
              <a:gd name="connsiteX117" fmla="*/ 117991 w 609614"/>
              <a:gd name="connsiteY117" fmla="*/ 206192 h 608697"/>
              <a:gd name="connsiteX118" fmla="*/ 117991 w 609614"/>
              <a:gd name="connsiteY118" fmla="*/ 225793 h 608697"/>
              <a:gd name="connsiteX119" fmla="*/ 147482 w 609614"/>
              <a:gd name="connsiteY119" fmla="*/ 255240 h 608697"/>
              <a:gd name="connsiteX120" fmla="*/ 127852 w 609614"/>
              <a:gd name="connsiteY120" fmla="*/ 255240 h 608697"/>
              <a:gd name="connsiteX121" fmla="*/ 117991 w 609614"/>
              <a:gd name="connsiteY121" fmla="*/ 245486 h 608697"/>
              <a:gd name="connsiteX122" fmla="*/ 98362 w 609614"/>
              <a:gd name="connsiteY122" fmla="*/ 245486 h 608697"/>
              <a:gd name="connsiteX123" fmla="*/ 88501 w 609614"/>
              <a:gd name="connsiteY123" fmla="*/ 255240 h 608697"/>
              <a:gd name="connsiteX124" fmla="*/ 98362 w 609614"/>
              <a:gd name="connsiteY124" fmla="*/ 265087 h 608697"/>
              <a:gd name="connsiteX125" fmla="*/ 117991 w 609614"/>
              <a:gd name="connsiteY125" fmla="*/ 265087 h 608697"/>
              <a:gd name="connsiteX126" fmla="*/ 147482 w 609614"/>
              <a:gd name="connsiteY126" fmla="*/ 294535 h 608697"/>
              <a:gd name="connsiteX127" fmla="*/ 117991 w 609614"/>
              <a:gd name="connsiteY127" fmla="*/ 323982 h 608697"/>
              <a:gd name="connsiteX128" fmla="*/ 117991 w 609614"/>
              <a:gd name="connsiteY128" fmla="*/ 343583 h 608697"/>
              <a:gd name="connsiteX129" fmla="*/ 98362 w 609614"/>
              <a:gd name="connsiteY129" fmla="*/ 343583 h 608697"/>
              <a:gd name="connsiteX130" fmla="*/ 98362 w 609614"/>
              <a:gd name="connsiteY130" fmla="*/ 323982 h 608697"/>
              <a:gd name="connsiteX131" fmla="*/ 68872 w 609614"/>
              <a:gd name="connsiteY131" fmla="*/ 294535 h 608697"/>
              <a:gd name="connsiteX132" fmla="*/ 88501 w 609614"/>
              <a:gd name="connsiteY132" fmla="*/ 294535 h 608697"/>
              <a:gd name="connsiteX133" fmla="*/ 98362 w 609614"/>
              <a:gd name="connsiteY133" fmla="*/ 304381 h 608697"/>
              <a:gd name="connsiteX134" fmla="*/ 117991 w 609614"/>
              <a:gd name="connsiteY134" fmla="*/ 304381 h 608697"/>
              <a:gd name="connsiteX135" fmla="*/ 127852 w 609614"/>
              <a:gd name="connsiteY135" fmla="*/ 294535 h 608697"/>
              <a:gd name="connsiteX136" fmla="*/ 117991 w 609614"/>
              <a:gd name="connsiteY136" fmla="*/ 284688 h 608697"/>
              <a:gd name="connsiteX137" fmla="*/ 98362 w 609614"/>
              <a:gd name="connsiteY137" fmla="*/ 284688 h 608697"/>
              <a:gd name="connsiteX138" fmla="*/ 68872 w 609614"/>
              <a:gd name="connsiteY138" fmla="*/ 255240 h 608697"/>
              <a:gd name="connsiteX139" fmla="*/ 98362 w 609614"/>
              <a:gd name="connsiteY139" fmla="*/ 225793 h 608697"/>
              <a:gd name="connsiteX140" fmla="*/ 108130 w 609614"/>
              <a:gd name="connsiteY140" fmla="*/ 186583 h 608697"/>
              <a:gd name="connsiteX141" fmla="*/ 19635 w 609614"/>
              <a:gd name="connsiteY141" fmla="*/ 274939 h 608697"/>
              <a:gd name="connsiteX142" fmla="*/ 108130 w 609614"/>
              <a:gd name="connsiteY142" fmla="*/ 363294 h 608697"/>
              <a:gd name="connsiteX143" fmla="*/ 196626 w 609614"/>
              <a:gd name="connsiteY143" fmla="*/ 274939 h 608697"/>
              <a:gd name="connsiteX144" fmla="*/ 108130 w 609614"/>
              <a:gd name="connsiteY144" fmla="*/ 186583 h 608697"/>
              <a:gd name="connsiteX145" fmla="*/ 108130 w 609614"/>
              <a:gd name="connsiteY145" fmla="*/ 166887 h 608697"/>
              <a:gd name="connsiteX146" fmla="*/ 216353 w 609614"/>
              <a:gd name="connsiteY146" fmla="*/ 274939 h 608697"/>
              <a:gd name="connsiteX147" fmla="*/ 216353 w 609614"/>
              <a:gd name="connsiteY147" fmla="*/ 530158 h 608697"/>
              <a:gd name="connsiteX148" fmla="*/ 196626 w 609614"/>
              <a:gd name="connsiteY148" fmla="*/ 530158 h 608697"/>
              <a:gd name="connsiteX149" fmla="*/ 196626 w 609614"/>
              <a:gd name="connsiteY149" fmla="*/ 336788 h 608697"/>
              <a:gd name="connsiteX150" fmla="*/ 108130 w 609614"/>
              <a:gd name="connsiteY150" fmla="*/ 382898 h 608697"/>
              <a:gd name="connsiteX151" fmla="*/ 19635 w 609614"/>
              <a:gd name="connsiteY151" fmla="*/ 336788 h 608697"/>
              <a:gd name="connsiteX152" fmla="*/ 19635 w 609614"/>
              <a:gd name="connsiteY152" fmla="*/ 441802 h 608697"/>
              <a:gd name="connsiteX153" fmla="*/ 0 w 609614"/>
              <a:gd name="connsiteY153" fmla="*/ 441802 h 608697"/>
              <a:gd name="connsiteX154" fmla="*/ 0 w 609614"/>
              <a:gd name="connsiteY154" fmla="*/ 274939 h 608697"/>
              <a:gd name="connsiteX155" fmla="*/ 108130 w 609614"/>
              <a:gd name="connsiteY155" fmla="*/ 166887 h 608697"/>
              <a:gd name="connsiteX156" fmla="*/ 255588 w 609614"/>
              <a:gd name="connsiteY156" fmla="*/ 117844 h 608697"/>
              <a:gd name="connsiteX157" fmla="*/ 275346 w 609614"/>
              <a:gd name="connsiteY157" fmla="*/ 117844 h 608697"/>
              <a:gd name="connsiteX158" fmla="*/ 275346 w 609614"/>
              <a:gd name="connsiteY158" fmla="*/ 265114 h 608697"/>
              <a:gd name="connsiteX159" fmla="*/ 255588 w 609614"/>
              <a:gd name="connsiteY159" fmla="*/ 265114 h 608697"/>
              <a:gd name="connsiteX160" fmla="*/ 39375 w 609614"/>
              <a:gd name="connsiteY160" fmla="*/ 117844 h 608697"/>
              <a:gd name="connsiteX161" fmla="*/ 58992 w 609614"/>
              <a:gd name="connsiteY161" fmla="*/ 117844 h 608697"/>
              <a:gd name="connsiteX162" fmla="*/ 58992 w 609614"/>
              <a:gd name="connsiteY162" fmla="*/ 137461 h 608697"/>
              <a:gd name="connsiteX163" fmla="*/ 39375 w 609614"/>
              <a:gd name="connsiteY163" fmla="*/ 137461 h 608697"/>
              <a:gd name="connsiteX164" fmla="*/ 76986 w 609614"/>
              <a:gd name="connsiteY164" fmla="*/ 102249 h 608697"/>
              <a:gd name="connsiteX165" fmla="*/ 90888 w 609614"/>
              <a:gd name="connsiteY165" fmla="*/ 116150 h 608697"/>
              <a:gd name="connsiteX166" fmla="*/ 76986 w 609614"/>
              <a:gd name="connsiteY166" fmla="*/ 130052 h 608697"/>
              <a:gd name="connsiteX167" fmla="*/ 63085 w 609614"/>
              <a:gd name="connsiteY167" fmla="*/ 116150 h 608697"/>
              <a:gd name="connsiteX168" fmla="*/ 21392 w 609614"/>
              <a:gd name="connsiteY168" fmla="*/ 102249 h 608697"/>
              <a:gd name="connsiteX169" fmla="*/ 35212 w 609614"/>
              <a:gd name="connsiteY169" fmla="*/ 116161 h 608697"/>
              <a:gd name="connsiteX170" fmla="*/ 21392 w 609614"/>
              <a:gd name="connsiteY170" fmla="*/ 129981 h 608697"/>
              <a:gd name="connsiteX171" fmla="*/ 7480 w 609614"/>
              <a:gd name="connsiteY171" fmla="*/ 116161 h 608697"/>
              <a:gd name="connsiteX172" fmla="*/ 255588 w 609614"/>
              <a:gd name="connsiteY172" fmla="*/ 78539 h 608697"/>
              <a:gd name="connsiteX173" fmla="*/ 275346 w 609614"/>
              <a:gd name="connsiteY173" fmla="*/ 78539 h 608697"/>
              <a:gd name="connsiteX174" fmla="*/ 275346 w 609614"/>
              <a:gd name="connsiteY174" fmla="*/ 98227 h 608697"/>
              <a:gd name="connsiteX175" fmla="*/ 255588 w 609614"/>
              <a:gd name="connsiteY175" fmla="*/ 98227 h 608697"/>
              <a:gd name="connsiteX176" fmla="*/ 78610 w 609614"/>
              <a:gd name="connsiteY176" fmla="*/ 78539 h 608697"/>
              <a:gd name="connsiteX177" fmla="*/ 98368 w 609614"/>
              <a:gd name="connsiteY177" fmla="*/ 78539 h 608697"/>
              <a:gd name="connsiteX178" fmla="*/ 98368 w 609614"/>
              <a:gd name="connsiteY178" fmla="*/ 98227 h 608697"/>
              <a:gd name="connsiteX179" fmla="*/ 78610 w 609614"/>
              <a:gd name="connsiteY179" fmla="*/ 98227 h 608697"/>
              <a:gd name="connsiteX180" fmla="*/ 0 w 609614"/>
              <a:gd name="connsiteY180" fmla="*/ 78539 h 608697"/>
              <a:gd name="connsiteX181" fmla="*/ 19617 w 609614"/>
              <a:gd name="connsiteY181" fmla="*/ 78539 h 608697"/>
              <a:gd name="connsiteX182" fmla="*/ 19617 w 609614"/>
              <a:gd name="connsiteY182" fmla="*/ 98227 h 608697"/>
              <a:gd name="connsiteX183" fmla="*/ 0 w 609614"/>
              <a:gd name="connsiteY183" fmla="*/ 98227 h 608697"/>
              <a:gd name="connsiteX184" fmla="*/ 293351 w 609614"/>
              <a:gd name="connsiteY184" fmla="*/ 62944 h 608697"/>
              <a:gd name="connsiteX185" fmla="*/ 307171 w 609614"/>
              <a:gd name="connsiteY185" fmla="*/ 76846 h 608697"/>
              <a:gd name="connsiteX186" fmla="*/ 293351 w 609614"/>
              <a:gd name="connsiteY186" fmla="*/ 90747 h 608697"/>
              <a:gd name="connsiteX187" fmla="*/ 279439 w 609614"/>
              <a:gd name="connsiteY187" fmla="*/ 76846 h 608697"/>
              <a:gd name="connsiteX188" fmla="*/ 237628 w 609614"/>
              <a:gd name="connsiteY188" fmla="*/ 62944 h 608697"/>
              <a:gd name="connsiteX189" fmla="*/ 251565 w 609614"/>
              <a:gd name="connsiteY189" fmla="*/ 76846 h 608697"/>
              <a:gd name="connsiteX190" fmla="*/ 237628 w 609614"/>
              <a:gd name="connsiteY190" fmla="*/ 90747 h 608697"/>
              <a:gd name="connsiteX191" fmla="*/ 223692 w 609614"/>
              <a:gd name="connsiteY191" fmla="*/ 76846 h 608697"/>
              <a:gd name="connsiteX192" fmla="*/ 462111 w 609614"/>
              <a:gd name="connsiteY192" fmla="*/ 49043 h 608697"/>
              <a:gd name="connsiteX193" fmla="*/ 481844 w 609614"/>
              <a:gd name="connsiteY193" fmla="*/ 49043 h 608697"/>
              <a:gd name="connsiteX194" fmla="*/ 481844 w 609614"/>
              <a:gd name="connsiteY194" fmla="*/ 68745 h 608697"/>
              <a:gd name="connsiteX195" fmla="*/ 521126 w 609614"/>
              <a:gd name="connsiteY195" fmla="*/ 107965 h 608697"/>
              <a:gd name="connsiteX196" fmla="*/ 521126 w 609614"/>
              <a:gd name="connsiteY196" fmla="*/ 117816 h 608697"/>
              <a:gd name="connsiteX197" fmla="*/ 501485 w 609614"/>
              <a:gd name="connsiteY197" fmla="*/ 117816 h 608697"/>
              <a:gd name="connsiteX198" fmla="*/ 501485 w 609614"/>
              <a:gd name="connsiteY198" fmla="*/ 107965 h 608697"/>
              <a:gd name="connsiteX199" fmla="*/ 481844 w 609614"/>
              <a:gd name="connsiteY199" fmla="*/ 88355 h 608697"/>
              <a:gd name="connsiteX200" fmla="*/ 462111 w 609614"/>
              <a:gd name="connsiteY200" fmla="*/ 88355 h 608697"/>
              <a:gd name="connsiteX201" fmla="*/ 442469 w 609614"/>
              <a:gd name="connsiteY201" fmla="*/ 107965 h 608697"/>
              <a:gd name="connsiteX202" fmla="*/ 462111 w 609614"/>
              <a:gd name="connsiteY202" fmla="*/ 127667 h 608697"/>
              <a:gd name="connsiteX203" fmla="*/ 481844 w 609614"/>
              <a:gd name="connsiteY203" fmla="*/ 127667 h 608697"/>
              <a:gd name="connsiteX204" fmla="*/ 521126 w 609614"/>
              <a:gd name="connsiteY204" fmla="*/ 166887 h 608697"/>
              <a:gd name="connsiteX205" fmla="*/ 481844 w 609614"/>
              <a:gd name="connsiteY205" fmla="*/ 206199 h 608697"/>
              <a:gd name="connsiteX206" fmla="*/ 481844 w 609614"/>
              <a:gd name="connsiteY206" fmla="*/ 225809 h 608697"/>
              <a:gd name="connsiteX207" fmla="*/ 462111 w 609614"/>
              <a:gd name="connsiteY207" fmla="*/ 225809 h 608697"/>
              <a:gd name="connsiteX208" fmla="*/ 462111 w 609614"/>
              <a:gd name="connsiteY208" fmla="*/ 206199 h 608697"/>
              <a:gd name="connsiteX209" fmla="*/ 422828 w 609614"/>
              <a:gd name="connsiteY209" fmla="*/ 166887 h 608697"/>
              <a:gd name="connsiteX210" fmla="*/ 422828 w 609614"/>
              <a:gd name="connsiteY210" fmla="*/ 157128 h 608697"/>
              <a:gd name="connsiteX211" fmla="*/ 442469 w 609614"/>
              <a:gd name="connsiteY211" fmla="*/ 157128 h 608697"/>
              <a:gd name="connsiteX212" fmla="*/ 442469 w 609614"/>
              <a:gd name="connsiteY212" fmla="*/ 166887 h 608697"/>
              <a:gd name="connsiteX213" fmla="*/ 462111 w 609614"/>
              <a:gd name="connsiteY213" fmla="*/ 186589 h 608697"/>
              <a:gd name="connsiteX214" fmla="*/ 481844 w 609614"/>
              <a:gd name="connsiteY214" fmla="*/ 186589 h 608697"/>
              <a:gd name="connsiteX215" fmla="*/ 501485 w 609614"/>
              <a:gd name="connsiteY215" fmla="*/ 166887 h 608697"/>
              <a:gd name="connsiteX216" fmla="*/ 481844 w 609614"/>
              <a:gd name="connsiteY216" fmla="*/ 147277 h 608697"/>
              <a:gd name="connsiteX217" fmla="*/ 462111 w 609614"/>
              <a:gd name="connsiteY217" fmla="*/ 147277 h 608697"/>
              <a:gd name="connsiteX218" fmla="*/ 422828 w 609614"/>
              <a:gd name="connsiteY218" fmla="*/ 107965 h 608697"/>
              <a:gd name="connsiteX219" fmla="*/ 462111 w 609614"/>
              <a:gd name="connsiteY219" fmla="*/ 68745 h 608697"/>
              <a:gd name="connsiteX220" fmla="*/ 76986 w 609614"/>
              <a:gd name="connsiteY220" fmla="*/ 46644 h 608697"/>
              <a:gd name="connsiteX221" fmla="*/ 90888 w 609614"/>
              <a:gd name="connsiteY221" fmla="*/ 60546 h 608697"/>
              <a:gd name="connsiteX222" fmla="*/ 76986 w 609614"/>
              <a:gd name="connsiteY222" fmla="*/ 74447 h 608697"/>
              <a:gd name="connsiteX223" fmla="*/ 63085 w 609614"/>
              <a:gd name="connsiteY223" fmla="*/ 60546 h 608697"/>
              <a:gd name="connsiteX224" fmla="*/ 21381 w 609614"/>
              <a:gd name="connsiteY224" fmla="*/ 46644 h 608697"/>
              <a:gd name="connsiteX225" fmla="*/ 35283 w 609614"/>
              <a:gd name="connsiteY225" fmla="*/ 60546 h 608697"/>
              <a:gd name="connsiteX226" fmla="*/ 21381 w 609614"/>
              <a:gd name="connsiteY226" fmla="*/ 74447 h 608697"/>
              <a:gd name="connsiteX227" fmla="*/ 7480 w 609614"/>
              <a:gd name="connsiteY227" fmla="*/ 60546 h 608697"/>
              <a:gd name="connsiteX228" fmla="*/ 294963 w 609614"/>
              <a:gd name="connsiteY228" fmla="*/ 39305 h 608697"/>
              <a:gd name="connsiteX229" fmla="*/ 314651 w 609614"/>
              <a:gd name="connsiteY229" fmla="*/ 39305 h 608697"/>
              <a:gd name="connsiteX230" fmla="*/ 314651 w 609614"/>
              <a:gd name="connsiteY230" fmla="*/ 58922 h 608697"/>
              <a:gd name="connsiteX231" fmla="*/ 294963 w 609614"/>
              <a:gd name="connsiteY231" fmla="*/ 58922 h 608697"/>
              <a:gd name="connsiteX232" fmla="*/ 216353 w 609614"/>
              <a:gd name="connsiteY232" fmla="*/ 39305 h 608697"/>
              <a:gd name="connsiteX233" fmla="*/ 235970 w 609614"/>
              <a:gd name="connsiteY233" fmla="*/ 39305 h 608697"/>
              <a:gd name="connsiteX234" fmla="*/ 235970 w 609614"/>
              <a:gd name="connsiteY234" fmla="*/ 58922 h 608697"/>
              <a:gd name="connsiteX235" fmla="*/ 216353 w 609614"/>
              <a:gd name="connsiteY235" fmla="*/ 58922 h 608697"/>
              <a:gd name="connsiteX236" fmla="*/ 39375 w 609614"/>
              <a:gd name="connsiteY236" fmla="*/ 39305 h 608697"/>
              <a:gd name="connsiteX237" fmla="*/ 58992 w 609614"/>
              <a:gd name="connsiteY237" fmla="*/ 39305 h 608697"/>
              <a:gd name="connsiteX238" fmla="*/ 58992 w 609614"/>
              <a:gd name="connsiteY238" fmla="*/ 58922 h 608697"/>
              <a:gd name="connsiteX239" fmla="*/ 39375 w 609614"/>
              <a:gd name="connsiteY239" fmla="*/ 58922 h 608697"/>
              <a:gd name="connsiteX240" fmla="*/ 471977 w 609614"/>
              <a:gd name="connsiteY240" fmla="*/ 19607 h 608697"/>
              <a:gd name="connsiteX241" fmla="*/ 353975 w 609614"/>
              <a:gd name="connsiteY241" fmla="*/ 137435 h 608697"/>
              <a:gd name="connsiteX242" fmla="*/ 471977 w 609614"/>
              <a:gd name="connsiteY242" fmla="*/ 255263 h 608697"/>
              <a:gd name="connsiteX243" fmla="*/ 589978 w 609614"/>
              <a:gd name="connsiteY243" fmla="*/ 137435 h 608697"/>
              <a:gd name="connsiteX244" fmla="*/ 471977 w 609614"/>
              <a:gd name="connsiteY244" fmla="*/ 19607 h 608697"/>
              <a:gd name="connsiteX245" fmla="*/ 293341 w 609614"/>
              <a:gd name="connsiteY245" fmla="*/ 7480 h 608697"/>
              <a:gd name="connsiteX246" fmla="*/ 307242 w 609614"/>
              <a:gd name="connsiteY246" fmla="*/ 21382 h 608697"/>
              <a:gd name="connsiteX247" fmla="*/ 293341 w 609614"/>
              <a:gd name="connsiteY247" fmla="*/ 35283 h 608697"/>
              <a:gd name="connsiteX248" fmla="*/ 279439 w 609614"/>
              <a:gd name="connsiteY248" fmla="*/ 21382 h 608697"/>
              <a:gd name="connsiteX249" fmla="*/ 237628 w 609614"/>
              <a:gd name="connsiteY249" fmla="*/ 7480 h 608697"/>
              <a:gd name="connsiteX250" fmla="*/ 251565 w 609614"/>
              <a:gd name="connsiteY250" fmla="*/ 21382 h 608697"/>
              <a:gd name="connsiteX251" fmla="*/ 237628 w 609614"/>
              <a:gd name="connsiteY251" fmla="*/ 35283 h 608697"/>
              <a:gd name="connsiteX252" fmla="*/ 223692 w 609614"/>
              <a:gd name="connsiteY252" fmla="*/ 21382 h 608697"/>
              <a:gd name="connsiteX253" fmla="*/ 471977 w 609614"/>
              <a:gd name="connsiteY253" fmla="*/ 0 h 608697"/>
              <a:gd name="connsiteX254" fmla="*/ 609614 w 609614"/>
              <a:gd name="connsiteY254" fmla="*/ 137435 h 608697"/>
              <a:gd name="connsiteX255" fmla="*/ 609614 w 609614"/>
              <a:gd name="connsiteY255" fmla="*/ 569533 h 608697"/>
              <a:gd name="connsiteX256" fmla="*/ 589978 w 609614"/>
              <a:gd name="connsiteY256" fmla="*/ 569533 h 608697"/>
              <a:gd name="connsiteX257" fmla="*/ 589978 w 609614"/>
              <a:gd name="connsiteY257" fmla="*/ 207948 h 608697"/>
              <a:gd name="connsiteX258" fmla="*/ 471977 w 609614"/>
              <a:gd name="connsiteY258" fmla="*/ 274963 h 608697"/>
              <a:gd name="connsiteX259" fmla="*/ 353975 w 609614"/>
              <a:gd name="connsiteY259" fmla="*/ 207948 h 608697"/>
              <a:gd name="connsiteX260" fmla="*/ 353975 w 609614"/>
              <a:gd name="connsiteY260" fmla="*/ 284720 h 608697"/>
              <a:gd name="connsiteX261" fmla="*/ 334339 w 609614"/>
              <a:gd name="connsiteY261" fmla="*/ 284720 h 608697"/>
              <a:gd name="connsiteX262" fmla="*/ 334339 w 609614"/>
              <a:gd name="connsiteY262" fmla="*/ 137435 h 608697"/>
              <a:gd name="connsiteX263" fmla="*/ 471977 w 609614"/>
              <a:gd name="connsiteY263" fmla="*/ 0 h 608697"/>
              <a:gd name="connsiteX264" fmla="*/ 255588 w 609614"/>
              <a:gd name="connsiteY264" fmla="*/ 0 h 608697"/>
              <a:gd name="connsiteX265" fmla="*/ 275346 w 609614"/>
              <a:gd name="connsiteY265" fmla="*/ 0 h 608697"/>
              <a:gd name="connsiteX266" fmla="*/ 275346 w 609614"/>
              <a:gd name="connsiteY266" fmla="*/ 19617 h 608697"/>
              <a:gd name="connsiteX267" fmla="*/ 255588 w 609614"/>
              <a:gd name="connsiteY267" fmla="*/ 19617 h 60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609614" h="608697">
                <a:moveTo>
                  <a:pt x="589997" y="589080"/>
                </a:moveTo>
                <a:lnTo>
                  <a:pt x="609614" y="589080"/>
                </a:lnTo>
                <a:lnTo>
                  <a:pt x="609614" y="608697"/>
                </a:lnTo>
                <a:lnTo>
                  <a:pt x="589997" y="608697"/>
                </a:lnTo>
                <a:close/>
                <a:moveTo>
                  <a:pt x="363835" y="589080"/>
                </a:moveTo>
                <a:lnTo>
                  <a:pt x="383452" y="589080"/>
                </a:lnTo>
                <a:lnTo>
                  <a:pt x="383452" y="608697"/>
                </a:lnTo>
                <a:lnTo>
                  <a:pt x="363835" y="608697"/>
                </a:lnTo>
                <a:close/>
                <a:moveTo>
                  <a:pt x="304842" y="589080"/>
                </a:moveTo>
                <a:lnTo>
                  <a:pt x="324459" y="589080"/>
                </a:lnTo>
                <a:lnTo>
                  <a:pt x="324459" y="608697"/>
                </a:lnTo>
                <a:lnTo>
                  <a:pt x="304842" y="608697"/>
                </a:lnTo>
                <a:close/>
                <a:moveTo>
                  <a:pt x="127864" y="589080"/>
                </a:moveTo>
                <a:lnTo>
                  <a:pt x="147481" y="589080"/>
                </a:lnTo>
                <a:lnTo>
                  <a:pt x="147481" y="608697"/>
                </a:lnTo>
                <a:lnTo>
                  <a:pt x="127864" y="608697"/>
                </a:lnTo>
                <a:close/>
                <a:moveTo>
                  <a:pt x="432636" y="569463"/>
                </a:moveTo>
                <a:lnTo>
                  <a:pt x="452324" y="569463"/>
                </a:lnTo>
                <a:lnTo>
                  <a:pt x="452324" y="589080"/>
                </a:lnTo>
                <a:lnTo>
                  <a:pt x="432636" y="589080"/>
                </a:lnTo>
                <a:close/>
                <a:moveTo>
                  <a:pt x="235971" y="569463"/>
                </a:moveTo>
                <a:lnTo>
                  <a:pt x="255588" y="569463"/>
                </a:lnTo>
                <a:lnTo>
                  <a:pt x="255588" y="589080"/>
                </a:lnTo>
                <a:lnTo>
                  <a:pt x="235971" y="589080"/>
                </a:lnTo>
                <a:close/>
                <a:moveTo>
                  <a:pt x="68872" y="569463"/>
                </a:moveTo>
                <a:lnTo>
                  <a:pt x="88489" y="569463"/>
                </a:lnTo>
                <a:lnTo>
                  <a:pt x="88489" y="589080"/>
                </a:lnTo>
                <a:lnTo>
                  <a:pt x="68872" y="589080"/>
                </a:lnTo>
                <a:close/>
                <a:moveTo>
                  <a:pt x="511316" y="549775"/>
                </a:moveTo>
                <a:lnTo>
                  <a:pt x="531004" y="549775"/>
                </a:lnTo>
                <a:lnTo>
                  <a:pt x="531004" y="569463"/>
                </a:lnTo>
                <a:lnTo>
                  <a:pt x="511316" y="569463"/>
                </a:lnTo>
                <a:close/>
                <a:moveTo>
                  <a:pt x="196595" y="549775"/>
                </a:moveTo>
                <a:lnTo>
                  <a:pt x="216353" y="549775"/>
                </a:lnTo>
                <a:lnTo>
                  <a:pt x="216353" y="569463"/>
                </a:lnTo>
                <a:lnTo>
                  <a:pt x="196595" y="569463"/>
                </a:lnTo>
                <a:close/>
                <a:moveTo>
                  <a:pt x="363835" y="540037"/>
                </a:moveTo>
                <a:lnTo>
                  <a:pt x="383452" y="540037"/>
                </a:lnTo>
                <a:lnTo>
                  <a:pt x="383452" y="569463"/>
                </a:lnTo>
                <a:lnTo>
                  <a:pt x="363835" y="569463"/>
                </a:lnTo>
                <a:close/>
                <a:moveTo>
                  <a:pt x="304842" y="540037"/>
                </a:moveTo>
                <a:lnTo>
                  <a:pt x="324459" y="540037"/>
                </a:lnTo>
                <a:lnTo>
                  <a:pt x="324459" y="569463"/>
                </a:lnTo>
                <a:lnTo>
                  <a:pt x="304842" y="569463"/>
                </a:lnTo>
                <a:close/>
                <a:moveTo>
                  <a:pt x="0" y="530158"/>
                </a:moveTo>
                <a:lnTo>
                  <a:pt x="19617" y="530158"/>
                </a:lnTo>
                <a:lnTo>
                  <a:pt x="19617" y="549775"/>
                </a:lnTo>
                <a:lnTo>
                  <a:pt x="0" y="549775"/>
                </a:lnTo>
                <a:close/>
                <a:moveTo>
                  <a:pt x="0" y="461427"/>
                </a:moveTo>
                <a:lnTo>
                  <a:pt x="19617" y="461427"/>
                </a:lnTo>
                <a:lnTo>
                  <a:pt x="19617" y="510611"/>
                </a:lnTo>
                <a:lnTo>
                  <a:pt x="0" y="510611"/>
                </a:lnTo>
                <a:close/>
                <a:moveTo>
                  <a:pt x="511316" y="402505"/>
                </a:moveTo>
                <a:lnTo>
                  <a:pt x="531004" y="402505"/>
                </a:lnTo>
                <a:lnTo>
                  <a:pt x="531004" y="530158"/>
                </a:lnTo>
                <a:lnTo>
                  <a:pt x="511316" y="530158"/>
                </a:lnTo>
                <a:close/>
                <a:moveTo>
                  <a:pt x="127864" y="402505"/>
                </a:moveTo>
                <a:lnTo>
                  <a:pt x="147481" y="402505"/>
                </a:lnTo>
                <a:lnTo>
                  <a:pt x="147481" y="569463"/>
                </a:lnTo>
                <a:lnTo>
                  <a:pt x="127864" y="569463"/>
                </a:lnTo>
                <a:close/>
                <a:moveTo>
                  <a:pt x="68872" y="402505"/>
                </a:moveTo>
                <a:lnTo>
                  <a:pt x="88489" y="402505"/>
                </a:lnTo>
                <a:lnTo>
                  <a:pt x="88489" y="549775"/>
                </a:lnTo>
                <a:lnTo>
                  <a:pt x="68872" y="549775"/>
                </a:lnTo>
                <a:close/>
                <a:moveTo>
                  <a:pt x="334333" y="343583"/>
                </a:moveTo>
                <a:lnTo>
                  <a:pt x="353962" y="343583"/>
                </a:lnTo>
                <a:lnTo>
                  <a:pt x="353962" y="363283"/>
                </a:lnTo>
                <a:cubicBezTo>
                  <a:pt x="370182" y="363283"/>
                  <a:pt x="383452" y="376447"/>
                  <a:pt x="383452" y="392741"/>
                </a:cubicBezTo>
                <a:lnTo>
                  <a:pt x="363823" y="392741"/>
                </a:lnTo>
                <a:cubicBezTo>
                  <a:pt x="363823" y="387310"/>
                  <a:pt x="359399" y="382891"/>
                  <a:pt x="353962" y="382891"/>
                </a:cubicBezTo>
                <a:lnTo>
                  <a:pt x="334333" y="382891"/>
                </a:lnTo>
                <a:cubicBezTo>
                  <a:pt x="328895" y="382891"/>
                  <a:pt x="324472" y="387310"/>
                  <a:pt x="324472" y="392741"/>
                </a:cubicBezTo>
                <a:cubicBezTo>
                  <a:pt x="324472" y="398172"/>
                  <a:pt x="328895" y="402499"/>
                  <a:pt x="334333" y="402499"/>
                </a:cubicBezTo>
                <a:lnTo>
                  <a:pt x="353962" y="402499"/>
                </a:lnTo>
                <a:cubicBezTo>
                  <a:pt x="370182" y="402499"/>
                  <a:pt x="383452" y="415755"/>
                  <a:pt x="383452" y="431957"/>
                </a:cubicBezTo>
                <a:cubicBezTo>
                  <a:pt x="383452" y="448251"/>
                  <a:pt x="370182" y="461415"/>
                  <a:pt x="353962" y="461415"/>
                </a:cubicBezTo>
                <a:lnTo>
                  <a:pt x="353962" y="481115"/>
                </a:lnTo>
                <a:lnTo>
                  <a:pt x="334333" y="481115"/>
                </a:lnTo>
                <a:lnTo>
                  <a:pt x="334333" y="461415"/>
                </a:lnTo>
                <a:cubicBezTo>
                  <a:pt x="318021" y="461415"/>
                  <a:pt x="304842" y="448251"/>
                  <a:pt x="304842" y="431957"/>
                </a:cubicBezTo>
                <a:lnTo>
                  <a:pt x="324472" y="431957"/>
                </a:lnTo>
                <a:cubicBezTo>
                  <a:pt x="324472" y="437388"/>
                  <a:pt x="328895" y="441807"/>
                  <a:pt x="334333" y="441807"/>
                </a:cubicBezTo>
                <a:lnTo>
                  <a:pt x="353962" y="441807"/>
                </a:lnTo>
                <a:cubicBezTo>
                  <a:pt x="359399" y="441807"/>
                  <a:pt x="363823" y="437388"/>
                  <a:pt x="363823" y="431957"/>
                </a:cubicBezTo>
                <a:cubicBezTo>
                  <a:pt x="363823" y="426526"/>
                  <a:pt x="359399" y="422199"/>
                  <a:pt x="353962" y="422199"/>
                </a:cubicBezTo>
                <a:lnTo>
                  <a:pt x="334333" y="422199"/>
                </a:lnTo>
                <a:cubicBezTo>
                  <a:pt x="318021" y="422199"/>
                  <a:pt x="304842" y="408943"/>
                  <a:pt x="304842" y="392741"/>
                </a:cubicBezTo>
                <a:cubicBezTo>
                  <a:pt x="304842" y="376447"/>
                  <a:pt x="318021" y="363283"/>
                  <a:pt x="334333" y="363283"/>
                </a:cubicBezTo>
                <a:close/>
                <a:moveTo>
                  <a:pt x="344102" y="324022"/>
                </a:moveTo>
                <a:cubicBezTo>
                  <a:pt x="295337" y="324022"/>
                  <a:pt x="255606" y="363687"/>
                  <a:pt x="255606" y="412372"/>
                </a:cubicBezTo>
                <a:cubicBezTo>
                  <a:pt x="255606" y="461057"/>
                  <a:pt x="295337" y="500722"/>
                  <a:pt x="344102" y="500722"/>
                </a:cubicBezTo>
                <a:cubicBezTo>
                  <a:pt x="392959" y="500722"/>
                  <a:pt x="432597" y="461057"/>
                  <a:pt x="432597" y="412372"/>
                </a:cubicBezTo>
                <a:cubicBezTo>
                  <a:pt x="432597" y="363687"/>
                  <a:pt x="392959" y="324022"/>
                  <a:pt x="344102" y="324022"/>
                </a:cubicBezTo>
                <a:close/>
                <a:moveTo>
                  <a:pt x="344102" y="304419"/>
                </a:moveTo>
                <a:cubicBezTo>
                  <a:pt x="403744" y="304419"/>
                  <a:pt x="452324" y="352828"/>
                  <a:pt x="452324" y="412372"/>
                </a:cubicBezTo>
                <a:lnTo>
                  <a:pt x="452324" y="549775"/>
                </a:lnTo>
                <a:lnTo>
                  <a:pt x="432597" y="549775"/>
                </a:lnTo>
                <a:lnTo>
                  <a:pt x="432597" y="474309"/>
                </a:lnTo>
                <a:cubicBezTo>
                  <a:pt x="413054" y="502103"/>
                  <a:pt x="380698" y="520325"/>
                  <a:pt x="344102" y="520325"/>
                </a:cubicBezTo>
                <a:cubicBezTo>
                  <a:pt x="307597" y="520325"/>
                  <a:pt x="275241" y="502103"/>
                  <a:pt x="255606" y="474309"/>
                </a:cubicBezTo>
                <a:lnTo>
                  <a:pt x="255606" y="549775"/>
                </a:lnTo>
                <a:lnTo>
                  <a:pt x="235971" y="549775"/>
                </a:lnTo>
                <a:lnTo>
                  <a:pt x="235971" y="412372"/>
                </a:lnTo>
                <a:cubicBezTo>
                  <a:pt x="235971" y="352828"/>
                  <a:pt x="284459" y="304419"/>
                  <a:pt x="344102" y="304419"/>
                </a:cubicBezTo>
                <a:close/>
                <a:moveTo>
                  <a:pt x="511316" y="284731"/>
                </a:moveTo>
                <a:lnTo>
                  <a:pt x="531004" y="284731"/>
                </a:lnTo>
                <a:lnTo>
                  <a:pt x="531004" y="382887"/>
                </a:lnTo>
                <a:lnTo>
                  <a:pt x="511316" y="382887"/>
                </a:lnTo>
                <a:close/>
                <a:moveTo>
                  <a:pt x="412948" y="284731"/>
                </a:moveTo>
                <a:lnTo>
                  <a:pt x="432636" y="284731"/>
                </a:lnTo>
                <a:lnTo>
                  <a:pt x="432636" y="314157"/>
                </a:lnTo>
                <a:lnTo>
                  <a:pt x="412948" y="314157"/>
                </a:lnTo>
                <a:close/>
                <a:moveTo>
                  <a:pt x="255588" y="284731"/>
                </a:moveTo>
                <a:lnTo>
                  <a:pt x="275346" y="284731"/>
                </a:lnTo>
                <a:lnTo>
                  <a:pt x="275346" y="304419"/>
                </a:lnTo>
                <a:lnTo>
                  <a:pt x="255588" y="304419"/>
                </a:lnTo>
                <a:close/>
                <a:moveTo>
                  <a:pt x="98362" y="206192"/>
                </a:moveTo>
                <a:lnTo>
                  <a:pt x="117991" y="206192"/>
                </a:lnTo>
                <a:lnTo>
                  <a:pt x="117991" y="225793"/>
                </a:lnTo>
                <a:cubicBezTo>
                  <a:pt x="134211" y="225793"/>
                  <a:pt x="147482" y="239044"/>
                  <a:pt x="147482" y="255240"/>
                </a:cubicBezTo>
                <a:lnTo>
                  <a:pt x="127852" y="255240"/>
                </a:lnTo>
                <a:cubicBezTo>
                  <a:pt x="127852" y="249811"/>
                  <a:pt x="123429" y="245486"/>
                  <a:pt x="117991" y="245486"/>
                </a:cubicBezTo>
                <a:lnTo>
                  <a:pt x="98362" y="245486"/>
                </a:lnTo>
                <a:cubicBezTo>
                  <a:pt x="92925" y="245486"/>
                  <a:pt x="88501" y="249811"/>
                  <a:pt x="88501" y="255240"/>
                </a:cubicBezTo>
                <a:cubicBezTo>
                  <a:pt x="88501" y="260670"/>
                  <a:pt x="92925" y="265087"/>
                  <a:pt x="98362" y="265087"/>
                </a:cubicBezTo>
                <a:lnTo>
                  <a:pt x="117991" y="265087"/>
                </a:lnTo>
                <a:cubicBezTo>
                  <a:pt x="134211" y="265087"/>
                  <a:pt x="147482" y="278338"/>
                  <a:pt x="147482" y="294535"/>
                </a:cubicBezTo>
                <a:cubicBezTo>
                  <a:pt x="147482" y="310731"/>
                  <a:pt x="134211" y="323982"/>
                  <a:pt x="117991" y="323982"/>
                </a:cubicBezTo>
                <a:lnTo>
                  <a:pt x="117991" y="343583"/>
                </a:lnTo>
                <a:lnTo>
                  <a:pt x="98362" y="343583"/>
                </a:lnTo>
                <a:lnTo>
                  <a:pt x="98362" y="323982"/>
                </a:lnTo>
                <a:cubicBezTo>
                  <a:pt x="82050" y="323982"/>
                  <a:pt x="68872" y="310731"/>
                  <a:pt x="68872" y="294535"/>
                </a:cubicBezTo>
                <a:lnTo>
                  <a:pt x="88501" y="294535"/>
                </a:lnTo>
                <a:cubicBezTo>
                  <a:pt x="88501" y="299964"/>
                  <a:pt x="92925" y="304381"/>
                  <a:pt x="98362" y="304381"/>
                </a:cubicBezTo>
                <a:lnTo>
                  <a:pt x="117991" y="304381"/>
                </a:lnTo>
                <a:cubicBezTo>
                  <a:pt x="123429" y="304381"/>
                  <a:pt x="127852" y="299964"/>
                  <a:pt x="127852" y="294535"/>
                </a:cubicBezTo>
                <a:cubicBezTo>
                  <a:pt x="127852" y="289105"/>
                  <a:pt x="123429" y="284688"/>
                  <a:pt x="117991" y="284688"/>
                </a:cubicBezTo>
                <a:lnTo>
                  <a:pt x="98362" y="284688"/>
                </a:lnTo>
                <a:cubicBezTo>
                  <a:pt x="82050" y="284688"/>
                  <a:pt x="68872" y="271529"/>
                  <a:pt x="68872" y="255240"/>
                </a:cubicBezTo>
                <a:cubicBezTo>
                  <a:pt x="68872" y="239044"/>
                  <a:pt x="82050" y="225793"/>
                  <a:pt x="98362" y="225793"/>
                </a:cubicBezTo>
                <a:close/>
                <a:moveTo>
                  <a:pt x="108130" y="186583"/>
                </a:moveTo>
                <a:cubicBezTo>
                  <a:pt x="59365" y="186583"/>
                  <a:pt x="19635" y="226159"/>
                  <a:pt x="19635" y="274939"/>
                </a:cubicBezTo>
                <a:cubicBezTo>
                  <a:pt x="19635" y="323626"/>
                  <a:pt x="59365" y="363294"/>
                  <a:pt x="108130" y="363294"/>
                </a:cubicBezTo>
                <a:cubicBezTo>
                  <a:pt x="156987" y="363294"/>
                  <a:pt x="196626" y="323626"/>
                  <a:pt x="196626" y="274939"/>
                </a:cubicBezTo>
                <a:cubicBezTo>
                  <a:pt x="196626" y="226159"/>
                  <a:pt x="156987" y="186583"/>
                  <a:pt x="108130" y="186583"/>
                </a:cubicBezTo>
                <a:close/>
                <a:moveTo>
                  <a:pt x="108130" y="166887"/>
                </a:moveTo>
                <a:cubicBezTo>
                  <a:pt x="167772" y="166887"/>
                  <a:pt x="216353" y="215391"/>
                  <a:pt x="216353" y="274939"/>
                </a:cubicBezTo>
                <a:lnTo>
                  <a:pt x="216353" y="530158"/>
                </a:lnTo>
                <a:lnTo>
                  <a:pt x="196626" y="530158"/>
                </a:lnTo>
                <a:lnTo>
                  <a:pt x="196626" y="336788"/>
                </a:lnTo>
                <a:cubicBezTo>
                  <a:pt x="177083" y="364583"/>
                  <a:pt x="144727" y="382898"/>
                  <a:pt x="108130" y="382898"/>
                </a:cubicBezTo>
                <a:cubicBezTo>
                  <a:pt x="71626" y="382898"/>
                  <a:pt x="39270" y="364583"/>
                  <a:pt x="19635" y="336788"/>
                </a:cubicBezTo>
                <a:lnTo>
                  <a:pt x="19635" y="441802"/>
                </a:lnTo>
                <a:lnTo>
                  <a:pt x="0" y="441802"/>
                </a:lnTo>
                <a:lnTo>
                  <a:pt x="0" y="274939"/>
                </a:lnTo>
                <a:cubicBezTo>
                  <a:pt x="0" y="215391"/>
                  <a:pt x="48488" y="166887"/>
                  <a:pt x="108130" y="166887"/>
                </a:cubicBezTo>
                <a:close/>
                <a:moveTo>
                  <a:pt x="255588" y="117844"/>
                </a:moveTo>
                <a:lnTo>
                  <a:pt x="275346" y="117844"/>
                </a:lnTo>
                <a:lnTo>
                  <a:pt x="275346" y="265114"/>
                </a:lnTo>
                <a:lnTo>
                  <a:pt x="255588" y="265114"/>
                </a:lnTo>
                <a:close/>
                <a:moveTo>
                  <a:pt x="39375" y="117844"/>
                </a:moveTo>
                <a:lnTo>
                  <a:pt x="58992" y="117844"/>
                </a:lnTo>
                <a:lnTo>
                  <a:pt x="58992" y="137461"/>
                </a:lnTo>
                <a:lnTo>
                  <a:pt x="39375" y="137461"/>
                </a:lnTo>
                <a:close/>
                <a:moveTo>
                  <a:pt x="76986" y="102249"/>
                </a:moveTo>
                <a:lnTo>
                  <a:pt x="90888" y="116150"/>
                </a:lnTo>
                <a:lnTo>
                  <a:pt x="76986" y="130052"/>
                </a:lnTo>
                <a:lnTo>
                  <a:pt x="63085" y="116150"/>
                </a:lnTo>
                <a:close/>
                <a:moveTo>
                  <a:pt x="21392" y="102249"/>
                </a:moveTo>
                <a:lnTo>
                  <a:pt x="35212" y="116161"/>
                </a:lnTo>
                <a:lnTo>
                  <a:pt x="21392" y="129981"/>
                </a:lnTo>
                <a:lnTo>
                  <a:pt x="7480" y="116161"/>
                </a:lnTo>
                <a:close/>
                <a:moveTo>
                  <a:pt x="255588" y="78539"/>
                </a:moveTo>
                <a:lnTo>
                  <a:pt x="275346" y="78539"/>
                </a:lnTo>
                <a:lnTo>
                  <a:pt x="275346" y="98227"/>
                </a:lnTo>
                <a:lnTo>
                  <a:pt x="255588" y="98227"/>
                </a:lnTo>
                <a:close/>
                <a:moveTo>
                  <a:pt x="78610" y="78539"/>
                </a:moveTo>
                <a:lnTo>
                  <a:pt x="98368" y="78539"/>
                </a:lnTo>
                <a:lnTo>
                  <a:pt x="98368" y="98227"/>
                </a:lnTo>
                <a:lnTo>
                  <a:pt x="78610" y="98227"/>
                </a:lnTo>
                <a:close/>
                <a:moveTo>
                  <a:pt x="0" y="78539"/>
                </a:moveTo>
                <a:lnTo>
                  <a:pt x="19617" y="78539"/>
                </a:lnTo>
                <a:lnTo>
                  <a:pt x="19617" y="98227"/>
                </a:lnTo>
                <a:lnTo>
                  <a:pt x="0" y="98227"/>
                </a:lnTo>
                <a:close/>
                <a:moveTo>
                  <a:pt x="293351" y="62944"/>
                </a:moveTo>
                <a:lnTo>
                  <a:pt x="307171" y="76846"/>
                </a:lnTo>
                <a:lnTo>
                  <a:pt x="293351" y="90747"/>
                </a:lnTo>
                <a:lnTo>
                  <a:pt x="279439" y="76846"/>
                </a:lnTo>
                <a:close/>
                <a:moveTo>
                  <a:pt x="237628" y="62944"/>
                </a:moveTo>
                <a:lnTo>
                  <a:pt x="251565" y="76846"/>
                </a:lnTo>
                <a:lnTo>
                  <a:pt x="237628" y="90747"/>
                </a:lnTo>
                <a:lnTo>
                  <a:pt x="223692" y="76846"/>
                </a:lnTo>
                <a:close/>
                <a:moveTo>
                  <a:pt x="462111" y="49043"/>
                </a:moveTo>
                <a:lnTo>
                  <a:pt x="481844" y="49043"/>
                </a:lnTo>
                <a:lnTo>
                  <a:pt x="481844" y="68745"/>
                </a:lnTo>
                <a:cubicBezTo>
                  <a:pt x="503514" y="68745"/>
                  <a:pt x="521126" y="86330"/>
                  <a:pt x="521126" y="107965"/>
                </a:cubicBezTo>
                <a:lnTo>
                  <a:pt x="521126" y="117816"/>
                </a:lnTo>
                <a:lnTo>
                  <a:pt x="501485" y="117816"/>
                </a:lnTo>
                <a:lnTo>
                  <a:pt x="501485" y="107965"/>
                </a:lnTo>
                <a:cubicBezTo>
                  <a:pt x="501485" y="97193"/>
                  <a:pt x="492633" y="88355"/>
                  <a:pt x="481844" y="88355"/>
                </a:cubicBezTo>
                <a:lnTo>
                  <a:pt x="462111" y="88355"/>
                </a:lnTo>
                <a:cubicBezTo>
                  <a:pt x="451322" y="88355"/>
                  <a:pt x="442469" y="97193"/>
                  <a:pt x="442469" y="107965"/>
                </a:cubicBezTo>
                <a:cubicBezTo>
                  <a:pt x="442469" y="118829"/>
                  <a:pt x="451322" y="127667"/>
                  <a:pt x="462111" y="127667"/>
                </a:cubicBezTo>
                <a:lnTo>
                  <a:pt x="481844" y="127667"/>
                </a:lnTo>
                <a:cubicBezTo>
                  <a:pt x="503514" y="127667"/>
                  <a:pt x="521126" y="145252"/>
                  <a:pt x="521126" y="166887"/>
                </a:cubicBezTo>
                <a:cubicBezTo>
                  <a:pt x="521126" y="188614"/>
                  <a:pt x="503514" y="206199"/>
                  <a:pt x="481844" y="206199"/>
                </a:cubicBezTo>
                <a:lnTo>
                  <a:pt x="481844" y="225809"/>
                </a:lnTo>
                <a:lnTo>
                  <a:pt x="462111" y="225809"/>
                </a:lnTo>
                <a:lnTo>
                  <a:pt x="462111" y="206199"/>
                </a:lnTo>
                <a:cubicBezTo>
                  <a:pt x="440441" y="206199"/>
                  <a:pt x="422828" y="188614"/>
                  <a:pt x="422828" y="166887"/>
                </a:cubicBezTo>
                <a:lnTo>
                  <a:pt x="422828" y="157128"/>
                </a:lnTo>
                <a:lnTo>
                  <a:pt x="442469" y="157128"/>
                </a:lnTo>
                <a:lnTo>
                  <a:pt x="442469" y="166887"/>
                </a:lnTo>
                <a:cubicBezTo>
                  <a:pt x="442469" y="177751"/>
                  <a:pt x="451322" y="186589"/>
                  <a:pt x="462111" y="186589"/>
                </a:cubicBezTo>
                <a:lnTo>
                  <a:pt x="481844" y="186589"/>
                </a:lnTo>
                <a:cubicBezTo>
                  <a:pt x="492633" y="186589"/>
                  <a:pt x="501485" y="177751"/>
                  <a:pt x="501485" y="166887"/>
                </a:cubicBezTo>
                <a:cubicBezTo>
                  <a:pt x="501485" y="156115"/>
                  <a:pt x="492633" y="147277"/>
                  <a:pt x="481844" y="147277"/>
                </a:cubicBezTo>
                <a:lnTo>
                  <a:pt x="462111" y="147277"/>
                </a:lnTo>
                <a:cubicBezTo>
                  <a:pt x="440441" y="147277"/>
                  <a:pt x="422828" y="129692"/>
                  <a:pt x="422828" y="107965"/>
                </a:cubicBezTo>
                <a:cubicBezTo>
                  <a:pt x="422828" y="86330"/>
                  <a:pt x="440441" y="68745"/>
                  <a:pt x="462111" y="68745"/>
                </a:cubicBezTo>
                <a:close/>
                <a:moveTo>
                  <a:pt x="76986" y="46644"/>
                </a:moveTo>
                <a:lnTo>
                  <a:pt x="90888" y="60546"/>
                </a:lnTo>
                <a:lnTo>
                  <a:pt x="76986" y="74447"/>
                </a:lnTo>
                <a:lnTo>
                  <a:pt x="63085" y="60546"/>
                </a:lnTo>
                <a:close/>
                <a:moveTo>
                  <a:pt x="21381" y="46644"/>
                </a:moveTo>
                <a:lnTo>
                  <a:pt x="35283" y="60546"/>
                </a:lnTo>
                <a:lnTo>
                  <a:pt x="21381" y="74447"/>
                </a:lnTo>
                <a:lnTo>
                  <a:pt x="7480" y="60546"/>
                </a:lnTo>
                <a:close/>
                <a:moveTo>
                  <a:pt x="294963" y="39305"/>
                </a:moveTo>
                <a:lnTo>
                  <a:pt x="314651" y="39305"/>
                </a:lnTo>
                <a:lnTo>
                  <a:pt x="314651" y="58922"/>
                </a:lnTo>
                <a:lnTo>
                  <a:pt x="294963" y="58922"/>
                </a:lnTo>
                <a:close/>
                <a:moveTo>
                  <a:pt x="216353" y="39305"/>
                </a:moveTo>
                <a:lnTo>
                  <a:pt x="235970" y="39305"/>
                </a:lnTo>
                <a:lnTo>
                  <a:pt x="235970" y="58922"/>
                </a:lnTo>
                <a:lnTo>
                  <a:pt x="216353" y="58922"/>
                </a:lnTo>
                <a:close/>
                <a:moveTo>
                  <a:pt x="39375" y="39305"/>
                </a:moveTo>
                <a:lnTo>
                  <a:pt x="58992" y="39305"/>
                </a:lnTo>
                <a:lnTo>
                  <a:pt x="58992" y="58922"/>
                </a:lnTo>
                <a:lnTo>
                  <a:pt x="39375" y="58922"/>
                </a:lnTo>
                <a:close/>
                <a:moveTo>
                  <a:pt x="471977" y="19607"/>
                </a:moveTo>
                <a:cubicBezTo>
                  <a:pt x="406892" y="19607"/>
                  <a:pt x="353975" y="72538"/>
                  <a:pt x="353975" y="137435"/>
                </a:cubicBezTo>
                <a:cubicBezTo>
                  <a:pt x="353975" y="202425"/>
                  <a:pt x="406892" y="255263"/>
                  <a:pt x="471977" y="255263"/>
                </a:cubicBezTo>
                <a:cubicBezTo>
                  <a:pt x="537062" y="255263"/>
                  <a:pt x="589978" y="202425"/>
                  <a:pt x="589978" y="137435"/>
                </a:cubicBezTo>
                <a:cubicBezTo>
                  <a:pt x="589978" y="72538"/>
                  <a:pt x="537062" y="19607"/>
                  <a:pt x="471977" y="19607"/>
                </a:cubicBezTo>
                <a:close/>
                <a:moveTo>
                  <a:pt x="293341" y="7480"/>
                </a:moveTo>
                <a:lnTo>
                  <a:pt x="307242" y="21382"/>
                </a:lnTo>
                <a:lnTo>
                  <a:pt x="293341" y="35283"/>
                </a:lnTo>
                <a:lnTo>
                  <a:pt x="279439" y="21382"/>
                </a:lnTo>
                <a:close/>
                <a:moveTo>
                  <a:pt x="237628" y="7480"/>
                </a:moveTo>
                <a:lnTo>
                  <a:pt x="251565" y="21382"/>
                </a:lnTo>
                <a:lnTo>
                  <a:pt x="237628" y="35283"/>
                </a:lnTo>
                <a:lnTo>
                  <a:pt x="223692" y="21382"/>
                </a:lnTo>
                <a:close/>
                <a:moveTo>
                  <a:pt x="471977" y="0"/>
                </a:moveTo>
                <a:cubicBezTo>
                  <a:pt x="547848" y="0"/>
                  <a:pt x="609614" y="61676"/>
                  <a:pt x="609614" y="137435"/>
                </a:cubicBezTo>
                <a:lnTo>
                  <a:pt x="609614" y="569533"/>
                </a:lnTo>
                <a:lnTo>
                  <a:pt x="589978" y="569533"/>
                </a:lnTo>
                <a:lnTo>
                  <a:pt x="589978" y="207948"/>
                </a:lnTo>
                <a:cubicBezTo>
                  <a:pt x="565917" y="247991"/>
                  <a:pt x="522127" y="274963"/>
                  <a:pt x="471977" y="274963"/>
                </a:cubicBezTo>
                <a:cubicBezTo>
                  <a:pt x="421826" y="274963"/>
                  <a:pt x="378037" y="247991"/>
                  <a:pt x="353975" y="207948"/>
                </a:cubicBezTo>
                <a:lnTo>
                  <a:pt x="353975" y="284720"/>
                </a:lnTo>
                <a:lnTo>
                  <a:pt x="334339" y="284720"/>
                </a:lnTo>
                <a:lnTo>
                  <a:pt x="334339" y="137435"/>
                </a:lnTo>
                <a:cubicBezTo>
                  <a:pt x="334339" y="61676"/>
                  <a:pt x="396106" y="0"/>
                  <a:pt x="471977" y="0"/>
                </a:cubicBezTo>
                <a:close/>
                <a:moveTo>
                  <a:pt x="255588" y="0"/>
                </a:moveTo>
                <a:lnTo>
                  <a:pt x="275346" y="0"/>
                </a:lnTo>
                <a:lnTo>
                  <a:pt x="275346" y="19617"/>
                </a:lnTo>
                <a:lnTo>
                  <a:pt x="255588" y="1961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badge_151431">
            <a:extLst>
              <a:ext uri="{FF2B5EF4-FFF2-40B4-BE49-F238E27FC236}">
                <a16:creationId xmlns:a16="http://schemas.microsoft.com/office/drawing/2014/main" id="{13A0D9D1-386D-40BB-8C85-E4A2AE2F5E68}"/>
              </a:ext>
            </a:extLst>
          </p:cNvPr>
          <p:cNvSpPr/>
          <p:nvPr/>
        </p:nvSpPr>
        <p:spPr>
          <a:xfrm>
            <a:off x="6296916" y="4095965"/>
            <a:ext cx="609685" cy="608691"/>
          </a:xfrm>
          <a:custGeom>
            <a:avLst/>
            <a:gdLst>
              <a:gd name="connsiteX0" fmla="*/ 202320 w 606580"/>
              <a:gd name="connsiteY0" fmla="*/ 340831 h 605592"/>
              <a:gd name="connsiteX1" fmla="*/ 205662 w 606580"/>
              <a:gd name="connsiteY1" fmla="*/ 359380 h 605592"/>
              <a:gd name="connsiteX2" fmla="*/ 180974 w 606580"/>
              <a:gd name="connsiteY2" fmla="*/ 370788 h 605592"/>
              <a:gd name="connsiteX3" fmla="*/ 176798 w 606580"/>
              <a:gd name="connsiteY3" fmla="*/ 378486 h 605592"/>
              <a:gd name="connsiteX4" fmla="*/ 179396 w 606580"/>
              <a:gd name="connsiteY4" fmla="*/ 385349 h 605592"/>
              <a:gd name="connsiteX5" fmla="*/ 186636 w 606580"/>
              <a:gd name="connsiteY5" fmla="*/ 387390 h 605592"/>
              <a:gd name="connsiteX6" fmla="*/ 202970 w 606580"/>
              <a:gd name="connsiteY6" fmla="*/ 379228 h 605592"/>
              <a:gd name="connsiteX7" fmla="*/ 224966 w 606580"/>
              <a:gd name="connsiteY7" fmla="*/ 371437 h 605592"/>
              <a:gd name="connsiteX8" fmla="*/ 243992 w 606580"/>
              <a:gd name="connsiteY8" fmla="*/ 379970 h 605592"/>
              <a:gd name="connsiteX9" fmla="*/ 251881 w 606580"/>
              <a:gd name="connsiteY9" fmla="*/ 401394 h 605592"/>
              <a:gd name="connsiteX10" fmla="*/ 239630 w 606580"/>
              <a:gd name="connsiteY10" fmla="*/ 424859 h 605592"/>
              <a:gd name="connsiteX11" fmla="*/ 199072 w 606580"/>
              <a:gd name="connsiteY11" fmla="*/ 441739 h 605592"/>
              <a:gd name="connsiteX12" fmla="*/ 197030 w 606580"/>
              <a:gd name="connsiteY12" fmla="*/ 421891 h 605592"/>
              <a:gd name="connsiteX13" fmla="*/ 226637 w 606580"/>
              <a:gd name="connsiteY13" fmla="*/ 411318 h 605592"/>
              <a:gd name="connsiteX14" fmla="*/ 231370 w 606580"/>
              <a:gd name="connsiteY14" fmla="*/ 403064 h 605592"/>
              <a:gd name="connsiteX15" fmla="*/ 228957 w 606580"/>
              <a:gd name="connsiteY15" fmla="*/ 395830 h 605592"/>
              <a:gd name="connsiteX16" fmla="*/ 221625 w 606580"/>
              <a:gd name="connsiteY16" fmla="*/ 393511 h 605592"/>
              <a:gd name="connsiteX17" fmla="*/ 208075 w 606580"/>
              <a:gd name="connsiteY17" fmla="*/ 399818 h 605592"/>
              <a:gd name="connsiteX18" fmla="*/ 183666 w 606580"/>
              <a:gd name="connsiteY18" fmla="*/ 409742 h 605592"/>
              <a:gd name="connsiteX19" fmla="*/ 164175 w 606580"/>
              <a:gd name="connsiteY19" fmla="*/ 401116 h 605592"/>
              <a:gd name="connsiteX20" fmla="*/ 156286 w 606580"/>
              <a:gd name="connsiteY20" fmla="*/ 379506 h 605592"/>
              <a:gd name="connsiteX21" fmla="*/ 168259 w 606580"/>
              <a:gd name="connsiteY21" fmla="*/ 357154 h 605592"/>
              <a:gd name="connsiteX22" fmla="*/ 184037 w 606580"/>
              <a:gd name="connsiteY22" fmla="*/ 346025 h 605592"/>
              <a:gd name="connsiteX23" fmla="*/ 202320 w 606580"/>
              <a:gd name="connsiteY23" fmla="*/ 340831 h 605592"/>
              <a:gd name="connsiteX24" fmla="*/ 255962 w 606580"/>
              <a:gd name="connsiteY24" fmla="*/ 312694 h 605592"/>
              <a:gd name="connsiteX25" fmla="*/ 267016 w 606580"/>
              <a:gd name="connsiteY25" fmla="*/ 340599 h 605592"/>
              <a:gd name="connsiteX26" fmla="*/ 283921 w 606580"/>
              <a:gd name="connsiteY26" fmla="*/ 323819 h 605592"/>
              <a:gd name="connsiteX27" fmla="*/ 243144 w 606580"/>
              <a:gd name="connsiteY27" fmla="*/ 285437 h 605592"/>
              <a:gd name="connsiteX28" fmla="*/ 339560 w 606580"/>
              <a:gd name="connsiteY28" fmla="*/ 323633 h 605592"/>
              <a:gd name="connsiteX29" fmla="*/ 323583 w 606580"/>
              <a:gd name="connsiteY29" fmla="*/ 339579 h 605592"/>
              <a:gd name="connsiteX30" fmla="*/ 302777 w 606580"/>
              <a:gd name="connsiteY30" fmla="*/ 331328 h 605592"/>
              <a:gd name="connsiteX31" fmla="*/ 274539 w 606580"/>
              <a:gd name="connsiteY31" fmla="*/ 359512 h 605592"/>
              <a:gd name="connsiteX32" fmla="*/ 282806 w 606580"/>
              <a:gd name="connsiteY32" fmla="*/ 380279 h 605592"/>
              <a:gd name="connsiteX33" fmla="*/ 266830 w 606580"/>
              <a:gd name="connsiteY33" fmla="*/ 396225 h 605592"/>
              <a:gd name="connsiteX34" fmla="*/ 228561 w 606580"/>
              <a:gd name="connsiteY34" fmla="*/ 299992 h 605592"/>
              <a:gd name="connsiteX35" fmla="*/ 295033 w 606580"/>
              <a:gd name="connsiteY35" fmla="*/ 233571 h 605592"/>
              <a:gd name="connsiteX36" fmla="*/ 349016 w 606580"/>
              <a:gd name="connsiteY36" fmla="*/ 287483 h 605592"/>
              <a:gd name="connsiteX37" fmla="*/ 377595 w 606580"/>
              <a:gd name="connsiteY37" fmla="*/ 258833 h 605592"/>
              <a:gd name="connsiteX38" fmla="*/ 391073 w 606580"/>
              <a:gd name="connsiteY38" fmla="*/ 272170 h 605592"/>
              <a:gd name="connsiteX39" fmla="*/ 347323 w 606580"/>
              <a:gd name="connsiteY39" fmla="*/ 315850 h 605592"/>
              <a:gd name="connsiteX40" fmla="*/ 280003 w 606580"/>
              <a:gd name="connsiteY40" fmla="*/ 248601 h 605592"/>
              <a:gd name="connsiteX41" fmla="*/ 383171 w 606580"/>
              <a:gd name="connsiteY41" fmla="*/ 145506 h 605592"/>
              <a:gd name="connsiteX42" fmla="*/ 396649 w 606580"/>
              <a:gd name="connsiteY42" fmla="*/ 158913 h 605592"/>
              <a:gd name="connsiteX43" fmla="*/ 363130 w 606580"/>
              <a:gd name="connsiteY43" fmla="*/ 192361 h 605592"/>
              <a:gd name="connsiteX44" fmla="*/ 376961 w 606580"/>
              <a:gd name="connsiteY44" fmla="*/ 206263 h 605592"/>
              <a:gd name="connsiteX45" fmla="*/ 407163 w 606580"/>
              <a:gd name="connsiteY45" fmla="*/ 176131 h 605592"/>
              <a:gd name="connsiteX46" fmla="*/ 419935 w 606580"/>
              <a:gd name="connsiteY46" fmla="*/ 188904 h 605592"/>
              <a:gd name="connsiteX47" fmla="*/ 389733 w 606580"/>
              <a:gd name="connsiteY47" fmla="*/ 219035 h 605592"/>
              <a:gd name="connsiteX48" fmla="*/ 403705 w 606580"/>
              <a:gd name="connsiteY48" fmla="*/ 232936 h 605592"/>
              <a:gd name="connsiteX49" fmla="*/ 438353 w 606580"/>
              <a:gd name="connsiteY49" fmla="*/ 198501 h 605592"/>
              <a:gd name="connsiteX50" fmla="*/ 451619 w 606580"/>
              <a:gd name="connsiteY50" fmla="*/ 211696 h 605592"/>
              <a:gd name="connsiteX51" fmla="*/ 402012 w 606580"/>
              <a:gd name="connsiteY51" fmla="*/ 261233 h 605592"/>
              <a:gd name="connsiteX52" fmla="*/ 334692 w 606580"/>
              <a:gd name="connsiteY52" fmla="*/ 193984 h 605592"/>
              <a:gd name="connsiteX53" fmla="*/ 303325 w 606580"/>
              <a:gd name="connsiteY53" fmla="*/ 97536 h 605592"/>
              <a:gd name="connsiteX54" fmla="*/ 157838 w 606580"/>
              <a:gd name="connsiteY54" fmla="*/ 157605 h 605592"/>
              <a:gd name="connsiteX55" fmla="*/ 157838 w 606580"/>
              <a:gd name="connsiteY55" fmla="*/ 448035 h 605592"/>
              <a:gd name="connsiteX56" fmla="*/ 303325 w 606580"/>
              <a:gd name="connsiteY56" fmla="*/ 508197 h 605592"/>
              <a:gd name="connsiteX57" fmla="*/ 448720 w 606580"/>
              <a:gd name="connsiteY57" fmla="*/ 448035 h 605592"/>
              <a:gd name="connsiteX58" fmla="*/ 448720 w 606580"/>
              <a:gd name="connsiteY58" fmla="*/ 157605 h 605592"/>
              <a:gd name="connsiteX59" fmla="*/ 303325 w 606580"/>
              <a:gd name="connsiteY59" fmla="*/ 97536 h 605592"/>
              <a:gd name="connsiteX60" fmla="*/ 303325 w 606580"/>
              <a:gd name="connsiteY60" fmla="*/ 71765 h 605592"/>
              <a:gd name="connsiteX61" fmla="*/ 467010 w 606580"/>
              <a:gd name="connsiteY61" fmla="*/ 139436 h 605592"/>
              <a:gd name="connsiteX62" fmla="*/ 467010 w 606580"/>
              <a:gd name="connsiteY62" fmla="*/ 466297 h 605592"/>
              <a:gd name="connsiteX63" fmla="*/ 303325 w 606580"/>
              <a:gd name="connsiteY63" fmla="*/ 533968 h 605592"/>
              <a:gd name="connsiteX64" fmla="*/ 139641 w 606580"/>
              <a:gd name="connsiteY64" fmla="*/ 466297 h 605592"/>
              <a:gd name="connsiteX65" fmla="*/ 139641 w 606580"/>
              <a:gd name="connsiteY65" fmla="*/ 139436 h 605592"/>
              <a:gd name="connsiteX66" fmla="*/ 303325 w 606580"/>
              <a:gd name="connsiteY66" fmla="*/ 71765 h 605592"/>
              <a:gd name="connsiteX67" fmla="*/ 303336 w 606580"/>
              <a:gd name="connsiteY67" fmla="*/ 25770 h 605592"/>
              <a:gd name="connsiteX68" fmla="*/ 244006 w 606580"/>
              <a:gd name="connsiteY68" fmla="*/ 50335 h 605592"/>
              <a:gd name="connsiteX69" fmla="*/ 166384 w 606580"/>
              <a:gd name="connsiteY69" fmla="*/ 82408 h 605592"/>
              <a:gd name="connsiteX70" fmla="*/ 82542 w 606580"/>
              <a:gd name="connsiteY70" fmla="*/ 166114 h 605592"/>
              <a:gd name="connsiteX71" fmla="*/ 50417 w 606580"/>
              <a:gd name="connsiteY71" fmla="*/ 243609 h 605592"/>
              <a:gd name="connsiteX72" fmla="*/ 25812 w 606580"/>
              <a:gd name="connsiteY72" fmla="*/ 302842 h 605592"/>
              <a:gd name="connsiteX73" fmla="*/ 50417 w 606580"/>
              <a:gd name="connsiteY73" fmla="*/ 362076 h 605592"/>
              <a:gd name="connsiteX74" fmla="*/ 82542 w 606580"/>
              <a:gd name="connsiteY74" fmla="*/ 439478 h 605592"/>
              <a:gd name="connsiteX75" fmla="*/ 166384 w 606580"/>
              <a:gd name="connsiteY75" fmla="*/ 523277 h 605592"/>
              <a:gd name="connsiteX76" fmla="*/ 244006 w 606580"/>
              <a:gd name="connsiteY76" fmla="*/ 555350 h 605592"/>
              <a:gd name="connsiteX77" fmla="*/ 303336 w 606580"/>
              <a:gd name="connsiteY77" fmla="*/ 579822 h 605592"/>
              <a:gd name="connsiteX78" fmla="*/ 362667 w 606580"/>
              <a:gd name="connsiteY78" fmla="*/ 555350 h 605592"/>
              <a:gd name="connsiteX79" fmla="*/ 440196 w 606580"/>
              <a:gd name="connsiteY79" fmla="*/ 523277 h 605592"/>
              <a:gd name="connsiteX80" fmla="*/ 524131 w 606580"/>
              <a:gd name="connsiteY80" fmla="*/ 439478 h 605592"/>
              <a:gd name="connsiteX81" fmla="*/ 556256 w 606580"/>
              <a:gd name="connsiteY81" fmla="*/ 362076 h 605592"/>
              <a:gd name="connsiteX82" fmla="*/ 556256 w 606580"/>
              <a:gd name="connsiteY82" fmla="*/ 243609 h 605592"/>
              <a:gd name="connsiteX83" fmla="*/ 524131 w 606580"/>
              <a:gd name="connsiteY83" fmla="*/ 166114 h 605592"/>
              <a:gd name="connsiteX84" fmla="*/ 440196 w 606580"/>
              <a:gd name="connsiteY84" fmla="*/ 82408 h 605592"/>
              <a:gd name="connsiteX85" fmla="*/ 362667 w 606580"/>
              <a:gd name="connsiteY85" fmla="*/ 50335 h 605592"/>
              <a:gd name="connsiteX86" fmla="*/ 303336 w 606580"/>
              <a:gd name="connsiteY86" fmla="*/ 25770 h 605592"/>
              <a:gd name="connsiteX87" fmla="*/ 303336 w 606580"/>
              <a:gd name="connsiteY87" fmla="*/ 0 h 605592"/>
              <a:gd name="connsiteX88" fmla="*/ 380865 w 606580"/>
              <a:gd name="connsiteY88" fmla="*/ 32073 h 605592"/>
              <a:gd name="connsiteX89" fmla="*/ 440196 w 606580"/>
              <a:gd name="connsiteY89" fmla="*/ 56638 h 605592"/>
              <a:gd name="connsiteX90" fmla="*/ 549943 w 606580"/>
              <a:gd name="connsiteY90" fmla="*/ 166114 h 605592"/>
              <a:gd name="connsiteX91" fmla="*/ 574455 w 606580"/>
              <a:gd name="connsiteY91" fmla="*/ 225347 h 605592"/>
              <a:gd name="connsiteX92" fmla="*/ 606580 w 606580"/>
              <a:gd name="connsiteY92" fmla="*/ 302842 h 605592"/>
              <a:gd name="connsiteX93" fmla="*/ 574455 w 606580"/>
              <a:gd name="connsiteY93" fmla="*/ 380245 h 605592"/>
              <a:gd name="connsiteX94" fmla="*/ 549943 w 606580"/>
              <a:gd name="connsiteY94" fmla="*/ 439478 h 605592"/>
              <a:gd name="connsiteX95" fmla="*/ 440196 w 606580"/>
              <a:gd name="connsiteY95" fmla="*/ 549047 h 605592"/>
              <a:gd name="connsiteX96" fmla="*/ 380865 w 606580"/>
              <a:gd name="connsiteY96" fmla="*/ 573519 h 605592"/>
              <a:gd name="connsiteX97" fmla="*/ 303336 w 606580"/>
              <a:gd name="connsiteY97" fmla="*/ 605592 h 605592"/>
              <a:gd name="connsiteX98" fmla="*/ 225715 w 606580"/>
              <a:gd name="connsiteY98" fmla="*/ 573519 h 605592"/>
              <a:gd name="connsiteX99" fmla="*/ 166384 w 606580"/>
              <a:gd name="connsiteY99" fmla="*/ 549047 h 605592"/>
              <a:gd name="connsiteX100" fmla="*/ 56730 w 606580"/>
              <a:gd name="connsiteY100" fmla="*/ 439478 h 605592"/>
              <a:gd name="connsiteX101" fmla="*/ 32125 w 606580"/>
              <a:gd name="connsiteY101" fmla="*/ 380245 h 605592"/>
              <a:gd name="connsiteX102" fmla="*/ 0 w 606580"/>
              <a:gd name="connsiteY102" fmla="*/ 302842 h 605592"/>
              <a:gd name="connsiteX103" fmla="*/ 32125 w 606580"/>
              <a:gd name="connsiteY103" fmla="*/ 225347 h 605592"/>
              <a:gd name="connsiteX104" fmla="*/ 56730 w 606580"/>
              <a:gd name="connsiteY104" fmla="*/ 166114 h 605592"/>
              <a:gd name="connsiteX105" fmla="*/ 166384 w 606580"/>
              <a:gd name="connsiteY105" fmla="*/ 56638 h 605592"/>
              <a:gd name="connsiteX106" fmla="*/ 225715 w 606580"/>
              <a:gd name="connsiteY106" fmla="*/ 32073 h 605592"/>
              <a:gd name="connsiteX107" fmla="*/ 303336 w 606580"/>
              <a:gd name="connsiteY107"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6580" h="605592">
                <a:moveTo>
                  <a:pt x="202320" y="340831"/>
                </a:moveTo>
                <a:lnTo>
                  <a:pt x="205662" y="359380"/>
                </a:lnTo>
                <a:cubicBezTo>
                  <a:pt x="195452" y="360771"/>
                  <a:pt x="187192" y="364574"/>
                  <a:pt x="180974" y="370788"/>
                </a:cubicBezTo>
                <a:cubicBezTo>
                  <a:pt x="178468" y="373292"/>
                  <a:pt x="177076" y="375889"/>
                  <a:pt x="176798" y="378486"/>
                </a:cubicBezTo>
                <a:cubicBezTo>
                  <a:pt x="176519" y="381083"/>
                  <a:pt x="177354" y="383402"/>
                  <a:pt x="179396" y="385349"/>
                </a:cubicBezTo>
                <a:cubicBezTo>
                  <a:pt x="181345" y="387297"/>
                  <a:pt x="183758" y="388039"/>
                  <a:pt x="186636" y="387390"/>
                </a:cubicBezTo>
                <a:cubicBezTo>
                  <a:pt x="189605" y="386740"/>
                  <a:pt x="194988" y="384051"/>
                  <a:pt x="202970" y="379228"/>
                </a:cubicBezTo>
                <a:cubicBezTo>
                  <a:pt x="210952" y="374498"/>
                  <a:pt x="218284" y="371901"/>
                  <a:pt x="224966" y="371437"/>
                </a:cubicBezTo>
                <a:cubicBezTo>
                  <a:pt x="231649" y="371066"/>
                  <a:pt x="237960" y="373941"/>
                  <a:pt x="243992" y="379970"/>
                </a:cubicBezTo>
                <a:cubicBezTo>
                  <a:pt x="250025" y="385998"/>
                  <a:pt x="252624" y="393140"/>
                  <a:pt x="251881" y="401394"/>
                </a:cubicBezTo>
                <a:cubicBezTo>
                  <a:pt x="251139" y="409649"/>
                  <a:pt x="247055" y="417439"/>
                  <a:pt x="239630" y="424859"/>
                </a:cubicBezTo>
                <a:cubicBezTo>
                  <a:pt x="229050" y="435525"/>
                  <a:pt x="215500" y="441183"/>
                  <a:pt x="199072" y="441739"/>
                </a:cubicBezTo>
                <a:lnTo>
                  <a:pt x="197030" y="421891"/>
                </a:lnTo>
                <a:cubicBezTo>
                  <a:pt x="210673" y="420964"/>
                  <a:pt x="220511" y="417439"/>
                  <a:pt x="226637" y="411318"/>
                </a:cubicBezTo>
                <a:cubicBezTo>
                  <a:pt x="229421" y="408536"/>
                  <a:pt x="230999" y="405753"/>
                  <a:pt x="231370" y="403064"/>
                </a:cubicBezTo>
                <a:cubicBezTo>
                  <a:pt x="231741" y="400281"/>
                  <a:pt x="230906" y="397870"/>
                  <a:pt x="228957" y="395830"/>
                </a:cubicBezTo>
                <a:cubicBezTo>
                  <a:pt x="226915" y="393789"/>
                  <a:pt x="224502" y="393047"/>
                  <a:pt x="221625" y="393511"/>
                </a:cubicBezTo>
                <a:cubicBezTo>
                  <a:pt x="218748" y="394067"/>
                  <a:pt x="214200" y="396108"/>
                  <a:pt x="208075" y="399818"/>
                </a:cubicBezTo>
                <a:cubicBezTo>
                  <a:pt x="198422" y="405846"/>
                  <a:pt x="190255" y="409092"/>
                  <a:pt x="183666" y="409742"/>
                </a:cubicBezTo>
                <a:cubicBezTo>
                  <a:pt x="176983" y="410391"/>
                  <a:pt x="170579" y="407516"/>
                  <a:pt x="164175" y="401116"/>
                </a:cubicBezTo>
                <a:cubicBezTo>
                  <a:pt x="157771" y="394809"/>
                  <a:pt x="155173" y="387575"/>
                  <a:pt x="156286" y="379506"/>
                </a:cubicBezTo>
                <a:cubicBezTo>
                  <a:pt x="157400" y="371437"/>
                  <a:pt x="161391" y="364018"/>
                  <a:pt x="168259" y="357154"/>
                </a:cubicBezTo>
                <a:cubicBezTo>
                  <a:pt x="172714" y="352703"/>
                  <a:pt x="178004" y="348900"/>
                  <a:pt x="184037" y="346025"/>
                </a:cubicBezTo>
                <a:cubicBezTo>
                  <a:pt x="190069" y="343057"/>
                  <a:pt x="196195" y="341295"/>
                  <a:pt x="202320" y="340831"/>
                </a:cubicBezTo>
                <a:close/>
                <a:moveTo>
                  <a:pt x="255962" y="312694"/>
                </a:moveTo>
                <a:lnTo>
                  <a:pt x="267016" y="340599"/>
                </a:lnTo>
                <a:lnTo>
                  <a:pt x="283921" y="323819"/>
                </a:lnTo>
                <a:close/>
                <a:moveTo>
                  <a:pt x="243144" y="285437"/>
                </a:moveTo>
                <a:lnTo>
                  <a:pt x="339560" y="323633"/>
                </a:lnTo>
                <a:lnTo>
                  <a:pt x="323583" y="339579"/>
                </a:lnTo>
                <a:lnTo>
                  <a:pt x="302777" y="331328"/>
                </a:lnTo>
                <a:lnTo>
                  <a:pt x="274539" y="359512"/>
                </a:lnTo>
                <a:lnTo>
                  <a:pt x="282806" y="380279"/>
                </a:lnTo>
                <a:lnTo>
                  <a:pt x="266830" y="396225"/>
                </a:lnTo>
                <a:lnTo>
                  <a:pt x="228561" y="299992"/>
                </a:lnTo>
                <a:close/>
                <a:moveTo>
                  <a:pt x="295033" y="233571"/>
                </a:moveTo>
                <a:lnTo>
                  <a:pt x="349016" y="287483"/>
                </a:lnTo>
                <a:lnTo>
                  <a:pt x="377595" y="258833"/>
                </a:lnTo>
                <a:lnTo>
                  <a:pt x="391073" y="272170"/>
                </a:lnTo>
                <a:lnTo>
                  <a:pt x="347323" y="315850"/>
                </a:lnTo>
                <a:lnTo>
                  <a:pt x="280003" y="248601"/>
                </a:lnTo>
                <a:close/>
                <a:moveTo>
                  <a:pt x="383171" y="145506"/>
                </a:moveTo>
                <a:lnTo>
                  <a:pt x="396649" y="158913"/>
                </a:lnTo>
                <a:lnTo>
                  <a:pt x="363130" y="192361"/>
                </a:lnTo>
                <a:lnTo>
                  <a:pt x="376961" y="206263"/>
                </a:lnTo>
                <a:lnTo>
                  <a:pt x="407163" y="176131"/>
                </a:lnTo>
                <a:lnTo>
                  <a:pt x="419935" y="188904"/>
                </a:lnTo>
                <a:lnTo>
                  <a:pt x="389733" y="219035"/>
                </a:lnTo>
                <a:lnTo>
                  <a:pt x="403705" y="232936"/>
                </a:lnTo>
                <a:lnTo>
                  <a:pt x="438353" y="198501"/>
                </a:lnTo>
                <a:lnTo>
                  <a:pt x="451619" y="211696"/>
                </a:lnTo>
                <a:lnTo>
                  <a:pt x="402012" y="261233"/>
                </a:lnTo>
                <a:lnTo>
                  <a:pt x="334692" y="193984"/>
                </a:lnTo>
                <a:close/>
                <a:moveTo>
                  <a:pt x="303325" y="97536"/>
                </a:moveTo>
                <a:cubicBezTo>
                  <a:pt x="248361" y="97536"/>
                  <a:pt x="196740" y="118857"/>
                  <a:pt x="157838" y="157605"/>
                </a:cubicBezTo>
                <a:cubicBezTo>
                  <a:pt x="77713" y="237698"/>
                  <a:pt x="77713" y="367942"/>
                  <a:pt x="157838" y="448035"/>
                </a:cubicBezTo>
                <a:cubicBezTo>
                  <a:pt x="196740" y="486784"/>
                  <a:pt x="248361" y="508197"/>
                  <a:pt x="303325" y="508197"/>
                </a:cubicBezTo>
                <a:cubicBezTo>
                  <a:pt x="358197" y="508197"/>
                  <a:pt x="409911" y="486784"/>
                  <a:pt x="448720" y="448035"/>
                </a:cubicBezTo>
                <a:cubicBezTo>
                  <a:pt x="528938" y="367942"/>
                  <a:pt x="528938" y="237698"/>
                  <a:pt x="448720" y="157605"/>
                </a:cubicBezTo>
                <a:cubicBezTo>
                  <a:pt x="409911" y="118857"/>
                  <a:pt x="358197" y="97536"/>
                  <a:pt x="303325" y="97536"/>
                </a:cubicBezTo>
                <a:close/>
                <a:moveTo>
                  <a:pt x="303325" y="71765"/>
                </a:moveTo>
                <a:cubicBezTo>
                  <a:pt x="365160" y="71765"/>
                  <a:pt x="423281" y="95774"/>
                  <a:pt x="467010" y="139436"/>
                </a:cubicBezTo>
                <a:cubicBezTo>
                  <a:pt x="557255" y="229541"/>
                  <a:pt x="557255" y="376192"/>
                  <a:pt x="467010" y="466297"/>
                </a:cubicBezTo>
                <a:cubicBezTo>
                  <a:pt x="423281" y="509866"/>
                  <a:pt x="365160" y="533968"/>
                  <a:pt x="303325" y="533968"/>
                </a:cubicBezTo>
                <a:cubicBezTo>
                  <a:pt x="241491" y="533968"/>
                  <a:pt x="183370" y="509866"/>
                  <a:pt x="139641" y="466297"/>
                </a:cubicBezTo>
                <a:cubicBezTo>
                  <a:pt x="49396" y="376192"/>
                  <a:pt x="49396" y="229541"/>
                  <a:pt x="139641" y="139436"/>
                </a:cubicBezTo>
                <a:cubicBezTo>
                  <a:pt x="183370" y="95774"/>
                  <a:pt x="241491" y="71765"/>
                  <a:pt x="303325" y="71765"/>
                </a:cubicBezTo>
                <a:close/>
                <a:moveTo>
                  <a:pt x="303336" y="25770"/>
                </a:moveTo>
                <a:cubicBezTo>
                  <a:pt x="280867" y="25770"/>
                  <a:pt x="259790" y="34483"/>
                  <a:pt x="244006" y="50335"/>
                </a:cubicBezTo>
                <a:cubicBezTo>
                  <a:pt x="223301" y="71006"/>
                  <a:pt x="195725" y="82408"/>
                  <a:pt x="166384" y="82408"/>
                </a:cubicBezTo>
                <a:cubicBezTo>
                  <a:pt x="120146" y="82408"/>
                  <a:pt x="82542" y="119950"/>
                  <a:pt x="82542" y="166114"/>
                </a:cubicBezTo>
                <a:cubicBezTo>
                  <a:pt x="82542" y="195406"/>
                  <a:pt x="71122" y="222937"/>
                  <a:pt x="50417" y="243609"/>
                </a:cubicBezTo>
                <a:cubicBezTo>
                  <a:pt x="34539" y="259367"/>
                  <a:pt x="25812" y="280410"/>
                  <a:pt x="25812" y="302842"/>
                </a:cubicBezTo>
                <a:cubicBezTo>
                  <a:pt x="25812" y="325182"/>
                  <a:pt x="34539" y="346225"/>
                  <a:pt x="50417" y="362076"/>
                </a:cubicBezTo>
                <a:cubicBezTo>
                  <a:pt x="71122" y="382747"/>
                  <a:pt x="82542" y="410279"/>
                  <a:pt x="82542" y="439478"/>
                </a:cubicBezTo>
                <a:cubicBezTo>
                  <a:pt x="82542" y="485642"/>
                  <a:pt x="120146" y="523277"/>
                  <a:pt x="166384" y="523277"/>
                </a:cubicBezTo>
                <a:cubicBezTo>
                  <a:pt x="195725" y="523277"/>
                  <a:pt x="223301" y="534679"/>
                  <a:pt x="244006" y="555350"/>
                </a:cubicBezTo>
                <a:cubicBezTo>
                  <a:pt x="259790" y="571109"/>
                  <a:pt x="280867" y="579822"/>
                  <a:pt x="303336" y="579822"/>
                </a:cubicBezTo>
                <a:cubicBezTo>
                  <a:pt x="325713" y="579822"/>
                  <a:pt x="346790" y="571109"/>
                  <a:pt x="362667" y="555350"/>
                </a:cubicBezTo>
                <a:cubicBezTo>
                  <a:pt x="383372" y="534679"/>
                  <a:pt x="410855" y="523277"/>
                  <a:pt x="440196" y="523277"/>
                </a:cubicBezTo>
                <a:cubicBezTo>
                  <a:pt x="486434" y="523277"/>
                  <a:pt x="524131" y="485642"/>
                  <a:pt x="524131" y="439478"/>
                </a:cubicBezTo>
                <a:cubicBezTo>
                  <a:pt x="524131" y="410279"/>
                  <a:pt x="535551" y="382747"/>
                  <a:pt x="556256" y="362076"/>
                </a:cubicBezTo>
                <a:cubicBezTo>
                  <a:pt x="588939" y="329354"/>
                  <a:pt x="588939" y="276238"/>
                  <a:pt x="556256" y="243609"/>
                </a:cubicBezTo>
                <a:cubicBezTo>
                  <a:pt x="535551" y="222937"/>
                  <a:pt x="524131" y="195406"/>
                  <a:pt x="524131" y="166114"/>
                </a:cubicBezTo>
                <a:cubicBezTo>
                  <a:pt x="524131" y="119950"/>
                  <a:pt x="486434" y="82408"/>
                  <a:pt x="440196" y="82408"/>
                </a:cubicBezTo>
                <a:cubicBezTo>
                  <a:pt x="410855" y="82408"/>
                  <a:pt x="383372" y="71006"/>
                  <a:pt x="362667" y="50335"/>
                </a:cubicBezTo>
                <a:cubicBezTo>
                  <a:pt x="346790" y="34483"/>
                  <a:pt x="325713" y="25770"/>
                  <a:pt x="303336" y="25770"/>
                </a:cubicBezTo>
                <a:close/>
                <a:moveTo>
                  <a:pt x="303336" y="0"/>
                </a:moveTo>
                <a:cubicBezTo>
                  <a:pt x="332584" y="0"/>
                  <a:pt x="360160" y="11402"/>
                  <a:pt x="380865" y="32073"/>
                </a:cubicBezTo>
                <a:cubicBezTo>
                  <a:pt x="396742" y="47925"/>
                  <a:pt x="417819" y="56638"/>
                  <a:pt x="440196" y="56638"/>
                </a:cubicBezTo>
                <a:cubicBezTo>
                  <a:pt x="500733" y="56638"/>
                  <a:pt x="549943" y="105768"/>
                  <a:pt x="549943" y="166114"/>
                </a:cubicBezTo>
                <a:cubicBezTo>
                  <a:pt x="549943" y="188546"/>
                  <a:pt x="558670" y="209496"/>
                  <a:pt x="574455" y="225347"/>
                </a:cubicBezTo>
                <a:cubicBezTo>
                  <a:pt x="595160" y="246019"/>
                  <a:pt x="606580" y="273550"/>
                  <a:pt x="606580" y="302842"/>
                </a:cubicBezTo>
                <a:cubicBezTo>
                  <a:pt x="606580" y="332042"/>
                  <a:pt x="595160" y="359573"/>
                  <a:pt x="574455" y="380245"/>
                </a:cubicBezTo>
                <a:cubicBezTo>
                  <a:pt x="558670" y="396096"/>
                  <a:pt x="549943" y="417138"/>
                  <a:pt x="549943" y="439478"/>
                </a:cubicBezTo>
                <a:cubicBezTo>
                  <a:pt x="549943" y="499917"/>
                  <a:pt x="500733" y="549047"/>
                  <a:pt x="440196" y="549047"/>
                </a:cubicBezTo>
                <a:cubicBezTo>
                  <a:pt x="417819" y="549047"/>
                  <a:pt x="396742" y="557760"/>
                  <a:pt x="380865" y="573519"/>
                </a:cubicBezTo>
                <a:cubicBezTo>
                  <a:pt x="360160" y="594190"/>
                  <a:pt x="332584" y="605592"/>
                  <a:pt x="303336" y="605592"/>
                </a:cubicBezTo>
                <a:cubicBezTo>
                  <a:pt x="273996" y="605592"/>
                  <a:pt x="246420" y="594190"/>
                  <a:pt x="225715" y="573519"/>
                </a:cubicBezTo>
                <a:cubicBezTo>
                  <a:pt x="209930" y="557760"/>
                  <a:pt x="188854" y="549047"/>
                  <a:pt x="166384" y="549047"/>
                </a:cubicBezTo>
                <a:cubicBezTo>
                  <a:pt x="105940" y="549047"/>
                  <a:pt x="56730" y="499917"/>
                  <a:pt x="56730" y="439478"/>
                </a:cubicBezTo>
                <a:cubicBezTo>
                  <a:pt x="56730" y="417138"/>
                  <a:pt x="48002" y="396096"/>
                  <a:pt x="32125" y="380245"/>
                </a:cubicBezTo>
                <a:cubicBezTo>
                  <a:pt x="11420" y="359573"/>
                  <a:pt x="0" y="332042"/>
                  <a:pt x="0" y="302842"/>
                </a:cubicBezTo>
                <a:cubicBezTo>
                  <a:pt x="0" y="273550"/>
                  <a:pt x="11420" y="246019"/>
                  <a:pt x="32125" y="225347"/>
                </a:cubicBezTo>
                <a:cubicBezTo>
                  <a:pt x="48002" y="209496"/>
                  <a:pt x="56730" y="188546"/>
                  <a:pt x="56730" y="166114"/>
                </a:cubicBezTo>
                <a:cubicBezTo>
                  <a:pt x="56730" y="105768"/>
                  <a:pt x="105940" y="56638"/>
                  <a:pt x="166384" y="56638"/>
                </a:cubicBezTo>
                <a:cubicBezTo>
                  <a:pt x="188854" y="56638"/>
                  <a:pt x="209930" y="47925"/>
                  <a:pt x="225715" y="32073"/>
                </a:cubicBezTo>
                <a:cubicBezTo>
                  <a:pt x="246420" y="11402"/>
                  <a:pt x="273996" y="0"/>
                  <a:pt x="30333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文本框 53">
            <a:extLst>
              <a:ext uri="{FF2B5EF4-FFF2-40B4-BE49-F238E27FC236}">
                <a16:creationId xmlns:a16="http://schemas.microsoft.com/office/drawing/2014/main" id="{596D9290-6D61-464E-803E-CA3E3C445444}"/>
              </a:ext>
            </a:extLst>
          </p:cNvPr>
          <p:cNvSpPr txBox="1"/>
          <p:nvPr/>
        </p:nvSpPr>
        <p:spPr>
          <a:xfrm>
            <a:off x="6906602" y="1872329"/>
            <a:ext cx="4408360" cy="947054"/>
          </a:xfrm>
          <a:prstGeom prst="rect">
            <a:avLst/>
          </a:prstGeom>
          <a:noFill/>
        </p:spPr>
        <p:txBody>
          <a:bodyPr wrap="square" rtlCol="0">
            <a:spAutoFit/>
          </a:bodyPr>
          <a:lstStyle/>
          <a:p>
            <a:pPr>
              <a:lnSpc>
                <a:spcPct val="120000"/>
              </a:lnSpc>
              <a:spcAft>
                <a:spcPts val="500"/>
              </a:spcAft>
            </a:pPr>
            <a:r>
              <a:rPr lang="zh-CN" altLang="en-US" sz="1600" b="1" kern="1400" dirty="0">
                <a:solidFill>
                  <a:srgbClr val="2F2F2F"/>
                </a:solidFill>
                <a:latin typeface="微软雅黑" panose="020B0503020204020204" pitchFamily="34" charset="-122"/>
                <a:ea typeface="微软雅黑" panose="020B0503020204020204" pitchFamily="34" charset="-122"/>
              </a:rPr>
              <a:t>搭建高活跃度的全球化开源社区</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indent="360000">
              <a:lnSpc>
                <a:spcPct val="120000"/>
              </a:lnSpc>
            </a:pPr>
            <a:r>
              <a:rPr lang="zh-CN" altLang="en-US" sz="1400" dirty="0">
                <a:solidFill>
                  <a:srgbClr val="000000"/>
                </a:solidFill>
                <a:latin typeface="AAAAAH+NotoSansCJKsc-Light"/>
              </a:rPr>
              <a:t>开源社区是至关重要并决定着开源软件成败的重要因素之⼀</a:t>
            </a:r>
            <a:endParaRPr lang="en-US" altLang="zh-CN" sz="1400" dirty="0">
              <a:solidFill>
                <a:srgbClr val="000000"/>
              </a:solidFill>
              <a:latin typeface="AAAAAH+NotoSansCJKsc-Light"/>
            </a:endParaRPr>
          </a:p>
        </p:txBody>
      </p:sp>
      <p:sp>
        <p:nvSpPr>
          <p:cNvPr id="55" name="文本框 54">
            <a:extLst>
              <a:ext uri="{FF2B5EF4-FFF2-40B4-BE49-F238E27FC236}">
                <a16:creationId xmlns:a16="http://schemas.microsoft.com/office/drawing/2014/main" id="{6E28899C-CA51-4FA6-81B5-BC057D9A4E7E}"/>
              </a:ext>
            </a:extLst>
          </p:cNvPr>
          <p:cNvSpPr txBox="1"/>
          <p:nvPr/>
        </p:nvSpPr>
        <p:spPr>
          <a:xfrm>
            <a:off x="6906602" y="2884469"/>
            <a:ext cx="4408360" cy="947054"/>
          </a:xfrm>
          <a:prstGeom prst="rect">
            <a:avLst/>
          </a:prstGeom>
          <a:noFill/>
        </p:spPr>
        <p:txBody>
          <a:bodyPr wrap="square" rtlCol="0">
            <a:spAutoFit/>
          </a:bodyPr>
          <a:lstStyle/>
          <a:p>
            <a:pPr>
              <a:lnSpc>
                <a:spcPct val="120000"/>
              </a:lnSpc>
              <a:spcAft>
                <a:spcPts val="500"/>
              </a:spcAft>
            </a:pPr>
            <a:r>
              <a:rPr lang="zh-CN" altLang="en-US" sz="1600" b="1" kern="1400" dirty="0">
                <a:solidFill>
                  <a:srgbClr val="2F2F2F"/>
                </a:solidFill>
                <a:latin typeface="微软雅黑" panose="020B0503020204020204" pitchFamily="34" charset="-122"/>
                <a:ea typeface="微软雅黑" panose="020B0503020204020204" pitchFamily="34" charset="-122"/>
              </a:rPr>
              <a:t>充分参与开源基金会等国际开源组织</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indent="360000">
              <a:lnSpc>
                <a:spcPct val="120000"/>
              </a:lnSpc>
            </a:pPr>
            <a:r>
              <a:rPr lang="zh-CN" altLang="en-US" sz="1400" dirty="0">
                <a:solidFill>
                  <a:srgbClr val="000000"/>
                </a:solidFill>
                <a:latin typeface="AAAAAH+NotoSansCJKsc-Light"/>
              </a:rPr>
              <a:t>对于许多寻求国际化的开源项⽬，拥有国际知名基⾦会的背书对后续的发展有着很好的推动作用</a:t>
            </a:r>
            <a:endParaRPr lang="en-US" altLang="zh-CN" sz="1400" dirty="0">
              <a:solidFill>
                <a:srgbClr val="000000"/>
              </a:solidFill>
              <a:latin typeface="AAAAAH+NotoSansCJKsc-Light"/>
            </a:endParaRPr>
          </a:p>
        </p:txBody>
      </p:sp>
      <p:sp>
        <p:nvSpPr>
          <p:cNvPr id="59" name="文本框 58">
            <a:extLst>
              <a:ext uri="{FF2B5EF4-FFF2-40B4-BE49-F238E27FC236}">
                <a16:creationId xmlns:a16="http://schemas.microsoft.com/office/drawing/2014/main" id="{E5E17626-CDF2-40CA-8314-75CB11D5728D}"/>
              </a:ext>
            </a:extLst>
          </p:cNvPr>
          <p:cNvSpPr txBox="1"/>
          <p:nvPr/>
        </p:nvSpPr>
        <p:spPr>
          <a:xfrm>
            <a:off x="6906602" y="4028947"/>
            <a:ext cx="4408360" cy="947054"/>
          </a:xfrm>
          <a:prstGeom prst="rect">
            <a:avLst/>
          </a:prstGeom>
          <a:noFill/>
        </p:spPr>
        <p:txBody>
          <a:bodyPr wrap="square" rtlCol="0">
            <a:spAutoFit/>
          </a:bodyPr>
          <a:lstStyle/>
          <a:p>
            <a:pPr>
              <a:lnSpc>
                <a:spcPct val="120000"/>
              </a:lnSpc>
              <a:spcAft>
                <a:spcPts val="500"/>
              </a:spcAft>
            </a:pPr>
            <a:r>
              <a:rPr lang="zh-CN" altLang="en-US" sz="1600" b="1" kern="1400" dirty="0">
                <a:solidFill>
                  <a:srgbClr val="2F2F2F"/>
                </a:solidFill>
                <a:latin typeface="微软雅黑" panose="020B0503020204020204" pitchFamily="34" charset="-122"/>
                <a:ea typeface="微软雅黑" panose="020B0503020204020204" pitchFamily="34" charset="-122"/>
              </a:rPr>
              <a:t>尽早布局全球化销售</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indent="360000">
              <a:lnSpc>
                <a:spcPct val="120000"/>
              </a:lnSpc>
              <a:spcAft>
                <a:spcPts val="500"/>
              </a:spcAft>
            </a:pPr>
            <a:r>
              <a:rPr lang="zh-CN" altLang="en-US" sz="1400" dirty="0">
                <a:solidFill>
                  <a:srgbClr val="000000"/>
                </a:solidFill>
                <a:latin typeface="AAAAAH+NotoSansCJKsc-Light"/>
              </a:rPr>
              <a:t>三种方式：建立本土化销售团队、与当地企业达成合作、通过社区直接与终端用户建立联系</a:t>
            </a:r>
            <a:endParaRPr lang="en-US" altLang="zh-CN" sz="1400" dirty="0">
              <a:solidFill>
                <a:srgbClr val="000000"/>
              </a:solidFill>
              <a:latin typeface="AAAAAH+NotoSansCJKsc-Light"/>
            </a:endParaRPr>
          </a:p>
        </p:txBody>
      </p:sp>
      <p:sp>
        <p:nvSpPr>
          <p:cNvPr id="60" name="文本框 59">
            <a:extLst>
              <a:ext uri="{FF2B5EF4-FFF2-40B4-BE49-F238E27FC236}">
                <a16:creationId xmlns:a16="http://schemas.microsoft.com/office/drawing/2014/main" id="{5AC6087E-1E88-44B2-B6DA-9C0095A11E19}"/>
              </a:ext>
            </a:extLst>
          </p:cNvPr>
          <p:cNvSpPr txBox="1"/>
          <p:nvPr/>
        </p:nvSpPr>
        <p:spPr>
          <a:xfrm>
            <a:off x="6906602" y="5109547"/>
            <a:ext cx="4408360" cy="951735"/>
          </a:xfrm>
          <a:prstGeom prst="rect">
            <a:avLst/>
          </a:prstGeom>
          <a:noFill/>
        </p:spPr>
        <p:txBody>
          <a:bodyPr wrap="square" rtlCol="0">
            <a:spAutoFit/>
          </a:bodyPr>
          <a:lstStyle/>
          <a:p>
            <a:pPr>
              <a:lnSpc>
                <a:spcPct val="120000"/>
              </a:lnSpc>
              <a:spcAft>
                <a:spcPts val="500"/>
              </a:spcAft>
            </a:pPr>
            <a:r>
              <a:rPr lang="zh-CN" altLang="en-US" sz="1600" b="1" kern="1400" dirty="0">
                <a:solidFill>
                  <a:srgbClr val="2F2F2F"/>
                </a:solidFill>
                <a:latin typeface="微软雅黑" panose="020B0503020204020204" pitchFamily="34" charset="-122"/>
                <a:ea typeface="微软雅黑" panose="020B0503020204020204" pitchFamily="34" charset="-122"/>
              </a:rPr>
              <a:t>开展全球化售后支持服务</a:t>
            </a:r>
            <a:endParaRPr lang="en-US" altLang="zh-CN" sz="1600" b="1" kern="1400" dirty="0">
              <a:solidFill>
                <a:srgbClr val="2F2F2F"/>
              </a:solidFill>
              <a:latin typeface="微软雅黑" panose="020B0503020204020204" pitchFamily="34" charset="-122"/>
              <a:ea typeface="微软雅黑" panose="020B0503020204020204" pitchFamily="34" charset="-122"/>
            </a:endParaRPr>
          </a:p>
          <a:p>
            <a:pPr indent="360000">
              <a:lnSpc>
                <a:spcPct val="120000"/>
              </a:lnSpc>
              <a:spcAft>
                <a:spcPts val="500"/>
              </a:spcAft>
            </a:pPr>
            <a:r>
              <a:rPr lang="zh-CN" altLang="en-US" sz="1400" dirty="0">
                <a:solidFill>
                  <a:srgbClr val="000000"/>
                </a:solidFill>
                <a:latin typeface="AAAAAH+NotoSansCJKsc-Light"/>
              </a:rPr>
              <a:t>应从项⽬初期就进行全球化服务部署的战略构思积极推进全球化售后服务网络的搭建</a:t>
            </a:r>
            <a:endParaRPr lang="en-US" altLang="zh-CN" sz="1400" dirty="0">
              <a:solidFill>
                <a:srgbClr val="000000"/>
              </a:solidFill>
              <a:latin typeface="AAAAAH+NotoSansCJKsc-Light"/>
            </a:endParaRPr>
          </a:p>
        </p:txBody>
      </p:sp>
    </p:spTree>
    <p:extLst>
      <p:ext uri="{BB962C8B-B14F-4D97-AF65-F5344CB8AC3E}">
        <p14:creationId xmlns:p14="http://schemas.microsoft.com/office/powerpoint/2010/main" val="2708900488"/>
      </p:ext>
    </p:extLst>
  </p:cSld>
  <p:clrMapOvr>
    <a:masterClrMapping/>
  </p:clrMapOvr>
  <p:transition spd="slow">
    <p:randomBa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1090831" y="481507"/>
            <a:ext cx="9235421"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zh-CN" sz="2900" i="1" dirty="0">
                <a:solidFill>
                  <a:srgbClr val="445185"/>
                </a:solidFill>
                <a:latin typeface="黑体" panose="02010609060101010101" charset="-122"/>
                <a:ea typeface="黑体" panose="02010609060101010101" charset="-122"/>
              </a:rPr>
              <a:t>开源生态助力</a:t>
            </a:r>
            <a:r>
              <a:rPr lang="en-US" altLang="zh-CN" sz="2900" i="1" dirty="0">
                <a:solidFill>
                  <a:srgbClr val="445185"/>
                </a:solidFill>
                <a:latin typeface="黑体" panose="02010609060101010101" charset="-122"/>
                <a:ea typeface="黑体" panose="02010609060101010101" charset="-122"/>
              </a:rPr>
              <a:t>AI</a:t>
            </a:r>
            <a:r>
              <a:rPr lang="zh-CN" altLang="zh-CN" sz="2900" i="1" dirty="0">
                <a:solidFill>
                  <a:srgbClr val="445185"/>
                </a:solidFill>
                <a:latin typeface="黑体" panose="02010609060101010101" charset="-122"/>
                <a:ea typeface="黑体" panose="02010609060101010101" charset="-122"/>
              </a:rPr>
              <a:t>快速发展</a:t>
            </a:r>
            <a:endParaRPr lang="zh-CN" altLang="en-US" sz="2900" i="1" dirty="0">
              <a:solidFill>
                <a:srgbClr val="445185"/>
              </a:solidFill>
              <a:latin typeface="黑体" panose="02010609060101010101" charset="-122"/>
              <a:ea typeface="黑体" panose="02010609060101010101" charset="-122"/>
            </a:endParaRPr>
          </a:p>
        </p:txBody>
      </p:sp>
      <p:sp>
        <p:nvSpPr>
          <p:cNvPr id="11" name="矩形: 圆角 10">
            <a:extLst>
              <a:ext uri="{FF2B5EF4-FFF2-40B4-BE49-F238E27FC236}">
                <a16:creationId xmlns:a16="http://schemas.microsoft.com/office/drawing/2014/main" id="{7CE189A1-5DBD-4DA0-AE81-A314FD338670}"/>
              </a:ext>
            </a:extLst>
          </p:cNvPr>
          <p:cNvSpPr/>
          <p:nvPr/>
        </p:nvSpPr>
        <p:spPr>
          <a:xfrm>
            <a:off x="1090833" y="1214562"/>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AI</a:t>
            </a:r>
            <a:r>
              <a:rPr lang="zh-CN" altLang="en-US" b="1" dirty="0">
                <a:solidFill>
                  <a:schemeClr val="tx1"/>
                </a:solidFill>
              </a:rPr>
              <a:t>技术飞速增长</a:t>
            </a:r>
          </a:p>
        </p:txBody>
      </p:sp>
      <p:sp>
        <p:nvSpPr>
          <p:cNvPr id="12" name="文本框 11">
            <a:extLst>
              <a:ext uri="{FF2B5EF4-FFF2-40B4-BE49-F238E27FC236}">
                <a16:creationId xmlns:a16="http://schemas.microsoft.com/office/drawing/2014/main" id="{835C7D22-B05A-4019-BC43-8A139B191A18}"/>
              </a:ext>
            </a:extLst>
          </p:cNvPr>
          <p:cNvSpPr txBox="1"/>
          <p:nvPr/>
        </p:nvSpPr>
        <p:spPr>
          <a:xfrm>
            <a:off x="1137189" y="4826004"/>
            <a:ext cx="5052867" cy="1550489"/>
          </a:xfrm>
          <a:prstGeom prst="rect">
            <a:avLst/>
          </a:prstGeom>
          <a:noFill/>
        </p:spPr>
        <p:txBody>
          <a:bodyPr wrap="square" rtlCol="0">
            <a:spAutoFit/>
          </a:bodyPr>
          <a:lstStyle/>
          <a:p>
            <a:pPr marL="285750" indent="-285750">
              <a:lnSpc>
                <a:spcPct val="120000"/>
              </a:lnSpc>
              <a:buFont typeface="Wingdings" panose="05000000000000000000" pitchFamily="2" charset="2"/>
              <a:buChar char="l"/>
            </a:pPr>
            <a:r>
              <a:rPr lang="en-US" altLang="zh-CN" sz="1600" b="1" dirty="0" err="1">
                <a:solidFill>
                  <a:srgbClr val="000000"/>
                </a:solidFill>
                <a:latin typeface="AAAAAH+NotoSansCJKsc-Light"/>
              </a:rPr>
              <a:t>Github</a:t>
            </a:r>
            <a:r>
              <a:rPr lang="zh-CN" altLang="en-US" sz="1600" dirty="0">
                <a:solidFill>
                  <a:srgbClr val="000000"/>
                </a:solidFill>
                <a:latin typeface="AAAAAH+NotoSansCJKsc-Light"/>
              </a:rPr>
              <a:t>上</a:t>
            </a:r>
            <a:r>
              <a:rPr lang="en-US" altLang="zh-CN" sz="1600" dirty="0">
                <a:solidFill>
                  <a:srgbClr val="000000"/>
                </a:solidFill>
                <a:latin typeface="AAAAAH+NotoSansCJKsc-Light"/>
              </a:rPr>
              <a:t>AI</a:t>
            </a:r>
            <a:r>
              <a:rPr lang="zh-CN" altLang="en-US" sz="1600" dirty="0">
                <a:solidFill>
                  <a:srgbClr val="000000"/>
                </a:solidFill>
                <a:latin typeface="AAAAAH+NotoSansCJKsc-Light"/>
              </a:rPr>
              <a:t>项目达到</a:t>
            </a:r>
            <a:r>
              <a:rPr lang="en-US" altLang="zh-CN" sz="1600" dirty="0">
                <a:solidFill>
                  <a:srgbClr val="000000"/>
                </a:solidFill>
                <a:latin typeface="AAAAAH+NotoSansCJKsc-Light"/>
              </a:rPr>
              <a:t>94</a:t>
            </a:r>
            <a:r>
              <a:rPr lang="zh-CN" altLang="en-US" sz="1600" dirty="0">
                <a:solidFill>
                  <a:srgbClr val="000000"/>
                </a:solidFill>
                <a:latin typeface="AAAAAH+NotoSansCJKsc-Light"/>
              </a:rPr>
              <a:t>万，比去年全年增幅达</a:t>
            </a:r>
            <a:r>
              <a:rPr lang="en-US" altLang="zh-CN" sz="1600" dirty="0">
                <a:solidFill>
                  <a:srgbClr val="000000"/>
                </a:solidFill>
                <a:latin typeface="AAAAAH+NotoSansCJKsc-Light"/>
              </a:rPr>
              <a:t>264%</a:t>
            </a:r>
          </a:p>
          <a:p>
            <a:pPr marL="285750" indent="-285750">
              <a:lnSpc>
                <a:spcPct val="120000"/>
              </a:lnSpc>
              <a:buFont typeface="Wingdings" panose="05000000000000000000" pitchFamily="2" charset="2"/>
              <a:buChar char="l"/>
            </a:pPr>
            <a:r>
              <a:rPr lang="en-US" altLang="zh-CN" sz="1600" b="1" dirty="0">
                <a:solidFill>
                  <a:srgbClr val="000000"/>
                </a:solidFill>
                <a:latin typeface="AAAAAH+NotoSansCJKsc-Light"/>
              </a:rPr>
              <a:t>Hugging Face</a:t>
            </a:r>
            <a:r>
              <a:rPr lang="zh-CN" altLang="en-US" sz="1600" dirty="0">
                <a:solidFill>
                  <a:srgbClr val="000000"/>
                </a:solidFill>
                <a:latin typeface="AAAAAH+NotoSansCJKsc-Light"/>
              </a:rPr>
              <a:t>社区在开源的推动下迅速发展</a:t>
            </a:r>
            <a:endParaRPr lang="en-US" altLang="zh-CN" sz="1600" dirty="0">
              <a:solidFill>
                <a:srgbClr val="000000"/>
              </a:solidFill>
              <a:latin typeface="AAAAAH+NotoSansCJKsc-Light"/>
            </a:endParaRPr>
          </a:p>
          <a:p>
            <a:pPr lvl="1">
              <a:lnSpc>
                <a:spcPct val="120000"/>
              </a:lnSpc>
            </a:pPr>
            <a:r>
              <a:rPr lang="zh-CN" altLang="en-US" sz="1600" dirty="0">
                <a:solidFill>
                  <a:srgbClr val="000000"/>
                </a:solidFill>
                <a:latin typeface="AAAAAH+NotoSansCJKsc-Light"/>
              </a:rPr>
              <a:t>模型：</a:t>
            </a:r>
            <a:r>
              <a:rPr lang="en-US" altLang="zh-CN" sz="1600" dirty="0">
                <a:solidFill>
                  <a:srgbClr val="000000"/>
                </a:solidFill>
                <a:latin typeface="AAAAAH+NotoSansCJKsc-Light"/>
              </a:rPr>
              <a:t>22</a:t>
            </a:r>
            <a:r>
              <a:rPr lang="zh-CN" altLang="en-US" sz="1600" dirty="0">
                <a:solidFill>
                  <a:srgbClr val="000000"/>
                </a:solidFill>
                <a:latin typeface="AAAAAH+NotoSansCJKsc-Light"/>
              </a:rPr>
              <a:t>万→</a:t>
            </a:r>
            <a:r>
              <a:rPr lang="en-US" altLang="zh-CN" sz="1600" dirty="0">
                <a:solidFill>
                  <a:srgbClr val="000000"/>
                </a:solidFill>
                <a:latin typeface="AAAAAH+NotoSansCJKsc-Light"/>
              </a:rPr>
              <a:t>51</a:t>
            </a:r>
            <a:r>
              <a:rPr lang="zh-CN" altLang="en-US" sz="1600" dirty="0">
                <a:solidFill>
                  <a:srgbClr val="000000"/>
                </a:solidFill>
                <a:latin typeface="AAAAAH+NotoSansCJKsc-Light"/>
              </a:rPr>
              <a:t>万</a:t>
            </a:r>
            <a:endParaRPr lang="en-US" altLang="zh-CN" sz="1600" dirty="0">
              <a:solidFill>
                <a:srgbClr val="000000"/>
              </a:solidFill>
              <a:latin typeface="AAAAAH+NotoSansCJKsc-Light"/>
            </a:endParaRPr>
          </a:p>
          <a:p>
            <a:pPr lvl="1">
              <a:lnSpc>
                <a:spcPct val="120000"/>
              </a:lnSpc>
            </a:pPr>
            <a:r>
              <a:rPr lang="zh-CN" altLang="en-US" sz="1600" dirty="0">
                <a:solidFill>
                  <a:srgbClr val="000000"/>
                </a:solidFill>
                <a:latin typeface="AAAAAH+NotoSansCJKsc-Light"/>
              </a:rPr>
              <a:t>数据集：</a:t>
            </a:r>
            <a:r>
              <a:rPr lang="en-US" altLang="zh-CN" sz="1600" dirty="0">
                <a:solidFill>
                  <a:srgbClr val="000000"/>
                </a:solidFill>
                <a:latin typeface="AAAAAH+NotoSansCJKsc-Light"/>
              </a:rPr>
              <a:t>5</a:t>
            </a:r>
            <a:r>
              <a:rPr lang="zh-CN" altLang="en-US" sz="1600" dirty="0">
                <a:solidFill>
                  <a:srgbClr val="000000"/>
                </a:solidFill>
                <a:latin typeface="AAAAAH+NotoSansCJKsc-Light"/>
              </a:rPr>
              <a:t>万→</a:t>
            </a:r>
            <a:r>
              <a:rPr lang="en-US" altLang="zh-CN" sz="1600" dirty="0">
                <a:solidFill>
                  <a:srgbClr val="000000"/>
                </a:solidFill>
                <a:latin typeface="AAAAAH+NotoSansCJKsc-Light"/>
              </a:rPr>
              <a:t>23</a:t>
            </a:r>
            <a:r>
              <a:rPr lang="zh-CN" altLang="en-US" sz="1600" dirty="0">
                <a:solidFill>
                  <a:srgbClr val="000000"/>
                </a:solidFill>
                <a:latin typeface="AAAAAH+NotoSansCJKsc-Light"/>
              </a:rPr>
              <a:t>万</a:t>
            </a:r>
            <a:endParaRPr lang="en-US" altLang="zh-CN" sz="1600" dirty="0">
              <a:solidFill>
                <a:srgbClr val="000000"/>
              </a:solidFill>
              <a:latin typeface="AAAAAH+NotoSansCJKsc-Light"/>
            </a:endParaRPr>
          </a:p>
          <a:p>
            <a:pPr lvl="1">
              <a:lnSpc>
                <a:spcPct val="120000"/>
              </a:lnSpc>
            </a:pPr>
            <a:r>
              <a:rPr lang="en-US" altLang="zh-CN" sz="1600" dirty="0">
                <a:solidFill>
                  <a:srgbClr val="000000"/>
                </a:solidFill>
                <a:latin typeface="AAAAAH+NotoSansCJKsc-Light"/>
              </a:rPr>
              <a:t>Spaces</a:t>
            </a:r>
            <a:r>
              <a:rPr lang="zh-CN" altLang="en-US" sz="1600" dirty="0">
                <a:solidFill>
                  <a:srgbClr val="000000"/>
                </a:solidFill>
                <a:latin typeface="AAAAAH+NotoSansCJKsc-Light"/>
              </a:rPr>
              <a:t>（空间）：</a:t>
            </a:r>
            <a:r>
              <a:rPr lang="en-US" altLang="zh-CN" sz="1600" dirty="0">
                <a:solidFill>
                  <a:srgbClr val="000000"/>
                </a:solidFill>
                <a:latin typeface="AAAAAH+NotoSansCJKsc-Light"/>
              </a:rPr>
              <a:t>3.9</a:t>
            </a:r>
            <a:r>
              <a:rPr lang="zh-CN" altLang="en-US" sz="1600" dirty="0">
                <a:solidFill>
                  <a:srgbClr val="000000"/>
                </a:solidFill>
                <a:latin typeface="AAAAAH+NotoSansCJKsc-Light"/>
              </a:rPr>
              <a:t>万→</a:t>
            </a:r>
            <a:r>
              <a:rPr lang="en-US" altLang="zh-CN" sz="1600" dirty="0">
                <a:solidFill>
                  <a:srgbClr val="000000"/>
                </a:solidFill>
                <a:latin typeface="AAAAAH+NotoSansCJKsc-Light"/>
              </a:rPr>
              <a:t>22</a:t>
            </a:r>
            <a:r>
              <a:rPr lang="zh-CN" altLang="en-US" sz="1600" dirty="0">
                <a:solidFill>
                  <a:srgbClr val="000000"/>
                </a:solidFill>
                <a:latin typeface="AAAAAH+NotoSansCJKsc-Light"/>
              </a:rPr>
              <a:t>万</a:t>
            </a:r>
            <a:endParaRPr lang="en-US" altLang="zh-CN" sz="1600" dirty="0">
              <a:solidFill>
                <a:srgbClr val="000000"/>
              </a:solidFill>
              <a:latin typeface="AAAAAH+NotoSansCJKsc-Light"/>
            </a:endParaRPr>
          </a:p>
        </p:txBody>
      </p:sp>
      <p:sp>
        <p:nvSpPr>
          <p:cNvPr id="19" name="矩形: 圆角 18">
            <a:extLst>
              <a:ext uri="{FF2B5EF4-FFF2-40B4-BE49-F238E27FC236}">
                <a16:creationId xmlns:a16="http://schemas.microsoft.com/office/drawing/2014/main" id="{70A45C57-4DCA-444A-B7FD-3F4A183D0E42}"/>
              </a:ext>
            </a:extLst>
          </p:cNvPr>
          <p:cNvSpPr/>
          <p:nvPr/>
        </p:nvSpPr>
        <p:spPr>
          <a:xfrm>
            <a:off x="1090831" y="4380617"/>
            <a:ext cx="4792731" cy="45258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开源对</a:t>
            </a:r>
            <a:r>
              <a:rPr lang="en-US" altLang="zh-CN" b="1" dirty="0">
                <a:solidFill>
                  <a:schemeClr val="tx1"/>
                </a:solidFill>
              </a:rPr>
              <a:t>AI</a:t>
            </a:r>
            <a:r>
              <a:rPr lang="zh-CN" altLang="en-US" b="1" dirty="0">
                <a:solidFill>
                  <a:schemeClr val="tx1"/>
                </a:solidFill>
              </a:rPr>
              <a:t>发展起到加速作用</a:t>
            </a:r>
          </a:p>
        </p:txBody>
      </p:sp>
      <p:sp>
        <p:nvSpPr>
          <p:cNvPr id="3" name="灯片编号占位符 2">
            <a:extLst>
              <a:ext uri="{FF2B5EF4-FFF2-40B4-BE49-F238E27FC236}">
                <a16:creationId xmlns:a16="http://schemas.microsoft.com/office/drawing/2014/main" id="{0F86A21A-14B6-4954-9CA2-1C503012D347}"/>
              </a:ext>
            </a:extLst>
          </p:cNvPr>
          <p:cNvSpPr>
            <a:spLocks noGrp="1"/>
          </p:cNvSpPr>
          <p:nvPr>
            <p:ph type="sldNum" sz="quarter" idx="12"/>
          </p:nvPr>
        </p:nvSpPr>
        <p:spPr/>
        <p:txBody>
          <a:bodyPr/>
          <a:lstStyle/>
          <a:p>
            <a:fld id="{65703A48-C316-4AA3-8E4E-4433376E065D}" type="slidenum">
              <a:rPr lang="zh-CN" altLang="en-US" smtClean="0"/>
              <a:t>9</a:t>
            </a:fld>
            <a:endParaRPr lang="zh-CN" altLang="en-US" dirty="0"/>
          </a:p>
        </p:txBody>
      </p:sp>
      <p:sp>
        <p:nvSpPr>
          <p:cNvPr id="10" name="文本框 9">
            <a:extLst>
              <a:ext uri="{FF2B5EF4-FFF2-40B4-BE49-F238E27FC236}">
                <a16:creationId xmlns:a16="http://schemas.microsoft.com/office/drawing/2014/main" id="{8C4CE40C-B44B-4EF2-B5BA-27C85C3043B8}"/>
              </a:ext>
            </a:extLst>
          </p:cNvPr>
          <p:cNvSpPr txBox="1"/>
          <p:nvPr/>
        </p:nvSpPr>
        <p:spPr>
          <a:xfrm>
            <a:off x="475172" y="6438899"/>
            <a:ext cx="3429000" cy="276999"/>
          </a:xfrm>
          <a:prstGeom prst="rect">
            <a:avLst/>
          </a:prstGeom>
          <a:noFill/>
        </p:spPr>
        <p:txBody>
          <a:bodyPr wrap="square" rtlCol="0">
            <a:spAutoFit/>
          </a:bodyPr>
          <a:lstStyle/>
          <a:p>
            <a:r>
              <a:rPr lang="zh-CN" altLang="en-US" sz="1200" dirty="0"/>
              <a:t>信息来源：</a:t>
            </a:r>
            <a:r>
              <a:rPr lang="en-US" altLang="zh-CN" sz="1200" dirty="0"/>
              <a:t>Stanford</a:t>
            </a:r>
            <a:r>
              <a:rPr lang="zh-CN" altLang="en-US" sz="1200" dirty="0"/>
              <a:t>、德勤</a:t>
            </a:r>
          </a:p>
        </p:txBody>
      </p:sp>
      <p:graphicFrame>
        <p:nvGraphicFramePr>
          <p:cNvPr id="15" name="图表 14">
            <a:extLst>
              <a:ext uri="{FF2B5EF4-FFF2-40B4-BE49-F238E27FC236}">
                <a16:creationId xmlns:a16="http://schemas.microsoft.com/office/drawing/2014/main" id="{D938B72A-5D26-4967-974D-7493171A72DE}"/>
              </a:ext>
            </a:extLst>
          </p:cNvPr>
          <p:cNvGraphicFramePr>
            <a:graphicFrameLocks/>
          </p:cNvGraphicFramePr>
          <p:nvPr>
            <p:extLst>
              <p:ext uri="{D42A27DB-BD31-4B8C-83A1-F6EECF244321}">
                <p14:modId xmlns:p14="http://schemas.microsoft.com/office/powerpoint/2010/main" val="1816105605"/>
              </p:ext>
            </p:extLst>
          </p:nvPr>
        </p:nvGraphicFramePr>
        <p:xfrm>
          <a:off x="8189883" y="1843077"/>
          <a:ext cx="3807942" cy="25368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图表 15">
            <a:extLst>
              <a:ext uri="{FF2B5EF4-FFF2-40B4-BE49-F238E27FC236}">
                <a16:creationId xmlns:a16="http://schemas.microsoft.com/office/drawing/2014/main" id="{D8FD70E4-CB08-49FE-AF46-3AF5E019C86C}"/>
              </a:ext>
            </a:extLst>
          </p:cNvPr>
          <p:cNvGraphicFramePr>
            <a:graphicFrameLocks/>
          </p:cNvGraphicFramePr>
          <p:nvPr>
            <p:extLst>
              <p:ext uri="{D42A27DB-BD31-4B8C-83A1-F6EECF244321}">
                <p14:modId xmlns:p14="http://schemas.microsoft.com/office/powerpoint/2010/main" val="4275319261"/>
              </p:ext>
            </p:extLst>
          </p:nvPr>
        </p:nvGraphicFramePr>
        <p:xfrm>
          <a:off x="4619229" y="1753530"/>
          <a:ext cx="3627451" cy="26410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图表 17">
            <a:extLst>
              <a:ext uri="{FF2B5EF4-FFF2-40B4-BE49-F238E27FC236}">
                <a16:creationId xmlns:a16="http://schemas.microsoft.com/office/drawing/2014/main" id="{4755A316-2BCC-4242-9EF3-624885962F60}"/>
              </a:ext>
            </a:extLst>
          </p:cNvPr>
          <p:cNvGraphicFramePr>
            <a:graphicFrameLocks/>
          </p:cNvGraphicFramePr>
          <p:nvPr>
            <p:extLst>
              <p:ext uri="{D42A27DB-BD31-4B8C-83A1-F6EECF244321}">
                <p14:modId xmlns:p14="http://schemas.microsoft.com/office/powerpoint/2010/main" val="1627058328"/>
              </p:ext>
            </p:extLst>
          </p:nvPr>
        </p:nvGraphicFramePr>
        <p:xfrm>
          <a:off x="665953" y="1500882"/>
          <a:ext cx="3644766" cy="2987366"/>
        </p:xfrm>
        <a:graphic>
          <a:graphicData uri="http://schemas.openxmlformats.org/drawingml/2006/chart">
            <c:chart xmlns:c="http://schemas.openxmlformats.org/drawingml/2006/chart" xmlns:r="http://schemas.openxmlformats.org/officeDocument/2006/relationships" r:id="rId4"/>
          </a:graphicData>
        </a:graphic>
      </p:graphicFrame>
      <p:sp>
        <p:nvSpPr>
          <p:cNvPr id="20" name="文本框 19">
            <a:extLst>
              <a:ext uri="{FF2B5EF4-FFF2-40B4-BE49-F238E27FC236}">
                <a16:creationId xmlns:a16="http://schemas.microsoft.com/office/drawing/2014/main" id="{4770ED91-B3AA-4C1D-A8F6-AF17474D4817}"/>
              </a:ext>
            </a:extLst>
          </p:cNvPr>
          <p:cNvSpPr txBox="1"/>
          <p:nvPr/>
        </p:nvSpPr>
        <p:spPr>
          <a:xfrm>
            <a:off x="516389" y="1697888"/>
            <a:ext cx="4386332" cy="338554"/>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达到</a:t>
            </a:r>
            <a:r>
              <a:rPr lang="en-US" altLang="zh-CN" sz="16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亿用户的时间（月）</a:t>
            </a:r>
          </a:p>
        </p:txBody>
      </p:sp>
      <p:sp>
        <p:nvSpPr>
          <p:cNvPr id="21" name="文本框 20">
            <a:extLst>
              <a:ext uri="{FF2B5EF4-FFF2-40B4-BE49-F238E27FC236}">
                <a16:creationId xmlns:a16="http://schemas.microsoft.com/office/drawing/2014/main" id="{359C493F-29ED-4D8A-94A0-19117337BBD6}"/>
              </a:ext>
            </a:extLst>
          </p:cNvPr>
          <p:cNvSpPr txBox="1"/>
          <p:nvPr/>
        </p:nvSpPr>
        <p:spPr>
          <a:xfrm>
            <a:off x="4149544" y="1697888"/>
            <a:ext cx="4386332" cy="338554"/>
          </a:xfrm>
          <a:prstGeom prst="rect">
            <a:avLst/>
          </a:prstGeom>
          <a:noFill/>
        </p:spPr>
        <p:txBody>
          <a:bodyPr wrap="square" rtlCol="0">
            <a:spAutoFit/>
          </a:bodyPr>
          <a:lstStyle/>
          <a:p>
            <a:pPr algn="ctr"/>
            <a:r>
              <a:rPr lang="en-US" altLang="zh-CN" sz="1600" dirty="0">
                <a:latin typeface="微软雅黑" panose="020B0503020204020204" pitchFamily="34" charset="-122"/>
                <a:ea typeface="微软雅黑" panose="020B0503020204020204" pitchFamily="34" charset="-122"/>
              </a:rPr>
              <a:t>AI</a:t>
            </a:r>
            <a:r>
              <a:rPr lang="zh-CN" altLang="en-US" sz="1600" dirty="0">
                <a:latin typeface="微软雅黑" panose="020B0503020204020204" pitchFamily="34" charset="-122"/>
                <a:ea typeface="微软雅黑" panose="020B0503020204020204" pitchFamily="34" charset="-122"/>
              </a:rPr>
              <a:t>期刊论文发表数量</a:t>
            </a:r>
          </a:p>
        </p:txBody>
      </p:sp>
      <p:sp>
        <p:nvSpPr>
          <p:cNvPr id="22" name="文本框 21">
            <a:extLst>
              <a:ext uri="{FF2B5EF4-FFF2-40B4-BE49-F238E27FC236}">
                <a16:creationId xmlns:a16="http://schemas.microsoft.com/office/drawing/2014/main" id="{D473A495-9473-4815-BBD9-B0D2E8DACC83}"/>
              </a:ext>
            </a:extLst>
          </p:cNvPr>
          <p:cNvSpPr txBox="1"/>
          <p:nvPr/>
        </p:nvSpPr>
        <p:spPr>
          <a:xfrm>
            <a:off x="7677942" y="1697888"/>
            <a:ext cx="4386332" cy="338554"/>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全球</a:t>
            </a:r>
            <a:r>
              <a:rPr lang="en-US" altLang="zh-CN" sz="1600" dirty="0">
                <a:latin typeface="微软雅黑" panose="020B0503020204020204" pitchFamily="34" charset="-122"/>
                <a:ea typeface="微软雅黑" panose="020B0503020204020204" pitchFamily="34" charset="-122"/>
              </a:rPr>
              <a:t>AI</a:t>
            </a:r>
            <a:r>
              <a:rPr lang="zh-CN" altLang="en-US" sz="1600" dirty="0">
                <a:latin typeface="微软雅黑" panose="020B0503020204020204" pitchFamily="34" charset="-122"/>
                <a:ea typeface="微软雅黑" panose="020B0503020204020204" pitchFamily="34" charset="-122"/>
              </a:rPr>
              <a:t>市场规模（万亿美元）</a:t>
            </a:r>
          </a:p>
        </p:txBody>
      </p:sp>
      <p:pic>
        <p:nvPicPr>
          <p:cNvPr id="5" name="Picture 2" descr="THE NEW CHATGPT LOGO PNG 2023 - eDigital Agency">
            <a:extLst>
              <a:ext uri="{FF2B5EF4-FFF2-40B4-BE49-F238E27FC236}">
                <a16:creationId xmlns:a16="http://schemas.microsoft.com/office/drawing/2014/main" id="{40D42926-7164-BF4D-BC4E-70DF76E286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6113" y="3303588"/>
            <a:ext cx="338554" cy="33855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etting Started with LlaMA 2 | Meta's New Generative AI">
            <a:extLst>
              <a:ext uri="{FF2B5EF4-FFF2-40B4-BE49-F238E27FC236}">
                <a16:creationId xmlns:a16="http://schemas.microsoft.com/office/drawing/2014/main" id="{EFA53863-097B-F04C-8F6C-A175BC5F33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2579" y="4844184"/>
            <a:ext cx="1246107" cy="62305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Official Auto-GPT Website">
            <a:extLst>
              <a:ext uri="{FF2B5EF4-FFF2-40B4-BE49-F238E27FC236}">
                <a16:creationId xmlns:a16="http://schemas.microsoft.com/office/drawing/2014/main" id="{1A5D19F0-3011-9140-AE70-18440CD506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7508" y="4880651"/>
            <a:ext cx="1181720" cy="5342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LangChain: The Future of AI Text Generation | by Bishal Bose | Medium">
            <a:extLst>
              <a:ext uri="{FF2B5EF4-FFF2-40B4-BE49-F238E27FC236}">
                <a16:creationId xmlns:a16="http://schemas.microsoft.com/office/drawing/2014/main" id="{23372A2E-6CBA-2A4E-8B9D-0CE55E070E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04635" y="4844184"/>
            <a:ext cx="1142537" cy="59514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ugging Face Valued at $4.5 Billion, Attracts Tech Giants | The Software  Report">
            <a:extLst>
              <a:ext uri="{FF2B5EF4-FFF2-40B4-BE49-F238E27FC236}">
                <a16:creationId xmlns:a16="http://schemas.microsoft.com/office/drawing/2014/main" id="{E0CC9DBA-4DAF-1240-931D-299587D2534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2710" y="5576001"/>
            <a:ext cx="1612462" cy="42900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nyscale | Scalable Compute for AI and Python">
            <a:extLst>
              <a:ext uri="{FF2B5EF4-FFF2-40B4-BE49-F238E27FC236}">
                <a16:creationId xmlns:a16="http://schemas.microsoft.com/office/drawing/2014/main" id="{2C6167C3-45E7-8B43-803D-400996D5435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04635" y="5630633"/>
            <a:ext cx="1199127" cy="27299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un a Milvus vector database inside your Amazon EKS (Elastic Kubernetes  Service) in cluster mode | by Paris Nakita Kejser | DevOps Engineer,  Software Architect and Software Developering | Medium">
            <a:extLst>
              <a:ext uri="{FF2B5EF4-FFF2-40B4-BE49-F238E27FC236}">
                <a16:creationId xmlns:a16="http://schemas.microsoft.com/office/drawing/2014/main" id="{212DF938-41EE-904D-8E3D-ED4D9C2BE9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86936" y="5549165"/>
            <a:ext cx="1301750" cy="520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175448"/>
      </p:ext>
    </p:extLst>
  </p:cSld>
  <p:clrMapOvr>
    <a:masterClrMapping/>
  </p:clrMapOvr>
  <p:transition spd="slow">
    <p:randomBar/>
  </p:transition>
</p:sld>
</file>

<file path=ppt/tags/tag1.xml><?xml version="1.0" encoding="utf-8"?>
<p:tagLst xmlns:a="http://schemas.openxmlformats.org/drawingml/2006/main" xmlns:r="http://schemas.openxmlformats.org/officeDocument/2006/relationships" xmlns:p="http://schemas.openxmlformats.org/presentationml/2006/main">
  <p:tag name="KSO_WPP_MARK_KEY" val="37ef33ad-325e-480b-bfea-46684073dd51"/>
  <p:tag name="COMMONDATA" val="eyJoZGlkIjoiOGU3NzUzOGI1MzE5NDVhYzhlYTAxN2E5YWM2ZDEzN2U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ISLIDE.ICON" val="#65827;#66023;#78269;#407023;#109859;#70088;"/>
  <p:tag name="ISLIDE.VECTOR" val="#849279;#849291;#849288;#856186;#844320;#836774;#856190;#844320;#856254;#813216;#903078;#849257;#856209;#856185;#856187;#856243;#828001;#827996;#844316;#856246;#856185;"/>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2FqQgRy8Q4ieKX16ff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hzzDf_OFBQxtIVQa4s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aaXCU63S1JIU_FzXDLG7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72C1crIIR8hgyd1ogEs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cJASJEq4KHNp1ntlBYp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3oUXsgPeHNZ_nPlYEjisMg"/>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15421F3rvWVvq4b2Nn8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hzzDf_OFBQxtIVQa4s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hzzDf_OFBQxtIVQa4s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hzzDf_OFBQxtIVQa4sWw"/>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14</TotalTime>
  <Words>2051</Words>
  <Application>Microsoft Macintosh PowerPoint</Application>
  <PresentationFormat>宽屏</PresentationFormat>
  <Paragraphs>244</Paragraphs>
  <Slides>15</Slides>
  <Notes>2</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15</vt:i4>
      </vt:variant>
    </vt:vector>
  </HeadingPairs>
  <TitlesOfParts>
    <vt:vector size="27" baseType="lpstr">
      <vt:lpstr>阿里巴巴普惠体 R</vt:lpstr>
      <vt:lpstr>等线</vt:lpstr>
      <vt:lpstr>黑体</vt:lpstr>
      <vt:lpstr>微软雅黑</vt:lpstr>
      <vt:lpstr>AAAAAB+NotoSansCJKsc-Bold</vt:lpstr>
      <vt:lpstr>AAAAAH+NotoSansCJKsc-Light</vt:lpstr>
      <vt:lpstr>Kaiti SC Regular</vt:lpstr>
      <vt:lpstr>Arial</vt:lpstr>
      <vt:lpstr>Arial</vt:lpstr>
      <vt:lpstr>Helvetica Neue</vt:lpstr>
      <vt:lpstr>Wingdings</vt:lpstr>
      <vt:lpstr>Office 主题​​</vt:lpstr>
      <vt:lpstr>开源商业化回顾与展望</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七届中国开源年会 通用PPT模板</dc:title>
  <dc:creator>Teatee Grace</dc:creator>
  <cp:lastModifiedBy>Zhixing Xu</cp:lastModifiedBy>
  <cp:revision>286</cp:revision>
  <dcterms:created xsi:type="dcterms:W3CDTF">2022-06-28T09:26:00Z</dcterms:created>
  <dcterms:modified xsi:type="dcterms:W3CDTF">2023-10-27T07:3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8A33F8E81B9421595D2527E982A8F26_13</vt:lpwstr>
  </property>
  <property fmtid="{D5CDD505-2E9C-101B-9397-08002B2CF9AE}" pid="3" name="KSOProductBuildVer">
    <vt:lpwstr>2052-11.1.0.12155</vt:lpwstr>
  </property>
</Properties>
</file>